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47" r:id="rId5"/>
    <p:sldMasterId id="2147483673" r:id="rId6"/>
    <p:sldMasterId id="2147483686" r:id="rId7"/>
    <p:sldMasterId id="2147483698" r:id="rId8"/>
    <p:sldMasterId id="2147483660" r:id="rId9"/>
    <p:sldMasterId id="2147483759" r:id="rId10"/>
  </p:sldMasterIdLst>
  <p:notesMasterIdLst>
    <p:notesMasterId r:id="rId43"/>
  </p:notesMasterIdLst>
  <p:sldIdLst>
    <p:sldId id="256" r:id="rId11"/>
    <p:sldId id="3536" r:id="rId12"/>
    <p:sldId id="263" r:id="rId13"/>
    <p:sldId id="5196" r:id="rId14"/>
    <p:sldId id="2147309254" r:id="rId15"/>
    <p:sldId id="2147309296" r:id="rId16"/>
    <p:sldId id="2147309275" r:id="rId17"/>
    <p:sldId id="2147309173" r:id="rId18"/>
    <p:sldId id="266" r:id="rId19"/>
    <p:sldId id="265" r:id="rId20"/>
    <p:sldId id="2147309280" r:id="rId21"/>
    <p:sldId id="2147309281" r:id="rId22"/>
    <p:sldId id="2147309279" r:id="rId23"/>
    <p:sldId id="2147309175" r:id="rId24"/>
    <p:sldId id="2147309277" r:id="rId25"/>
    <p:sldId id="6883" r:id="rId26"/>
    <p:sldId id="2147309264" r:id="rId27"/>
    <p:sldId id="6917" r:id="rId28"/>
    <p:sldId id="2147309290" r:id="rId29"/>
    <p:sldId id="6939" r:id="rId30"/>
    <p:sldId id="2147309270" r:id="rId31"/>
    <p:sldId id="2147309267" r:id="rId32"/>
    <p:sldId id="2147309297" r:id="rId33"/>
    <p:sldId id="2147309257" r:id="rId34"/>
    <p:sldId id="2147309271" r:id="rId35"/>
    <p:sldId id="2147309293" r:id="rId36"/>
    <p:sldId id="2147309276" r:id="rId37"/>
    <p:sldId id="2147309179" r:id="rId38"/>
    <p:sldId id="2147309177" r:id="rId39"/>
    <p:sldId id="2147309278" r:id="rId40"/>
    <p:sldId id="667" r:id="rId41"/>
    <p:sldId id="2147309294" r:id="rId42"/>
  </p:sldIdLst>
  <p:sldSz cx="9144000" cy="5143500" type="screen16x9"/>
  <p:notesSz cx="6797675" cy="9926638"/>
  <p:custDataLst>
    <p:tags r:id="rId44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3536"/>
            <p14:sldId id="263"/>
            <p14:sldId id="5196"/>
            <p14:sldId id="2147309254"/>
            <p14:sldId id="2147309296"/>
            <p14:sldId id="2147309275"/>
            <p14:sldId id="2147309173"/>
            <p14:sldId id="266"/>
            <p14:sldId id="265"/>
            <p14:sldId id="2147309280"/>
            <p14:sldId id="2147309281"/>
            <p14:sldId id="2147309279"/>
            <p14:sldId id="2147309175"/>
            <p14:sldId id="2147309277"/>
            <p14:sldId id="6883"/>
            <p14:sldId id="2147309264"/>
            <p14:sldId id="6917"/>
            <p14:sldId id="2147309290"/>
            <p14:sldId id="6939"/>
            <p14:sldId id="2147309270"/>
            <p14:sldId id="2147309267"/>
            <p14:sldId id="2147309297"/>
            <p14:sldId id="2147309257"/>
            <p14:sldId id="2147309271"/>
            <p14:sldId id="2147309293"/>
            <p14:sldId id="2147309276"/>
            <p14:sldId id="2147309179"/>
            <p14:sldId id="2147309177"/>
            <p14:sldId id="2147309278"/>
            <p14:sldId id="667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 Kårøy Overvik" initials="KO" lastIdx="9" clrIdx="0">
    <p:extLst>
      <p:ext uri="{19B8F6BF-5375-455C-9EA6-DF929625EA0E}">
        <p15:presenceInfo xmlns:p15="http://schemas.microsoft.com/office/powerpoint/2012/main" userId="S::kristo@ntnu.no::9f32c53a-86e1-4034-b7b9-1fcc4812f6dd" providerId="AD"/>
      </p:ext>
    </p:extLst>
  </p:cmAuthor>
  <p:cmAuthor id="2" name="Horvei, Christina" initials="HC" lastIdx="5" clrIdx="1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  <p:cmAuthor id="3" name="Christina" initials="C" lastIdx="1" clrIdx="2">
    <p:extLst>
      <p:ext uri="{19B8F6BF-5375-455C-9EA6-DF929625EA0E}">
        <p15:presenceInfo xmlns:p15="http://schemas.microsoft.com/office/powerpoint/2012/main" userId="Christina" providerId="None"/>
      </p:ext>
    </p:extLst>
  </p:cmAuthor>
  <p:cmAuthor id="4" name="Christina Horvei" initials="CH" lastIdx="1" clrIdx="3">
    <p:extLst>
      <p:ext uri="{19B8F6BF-5375-455C-9EA6-DF929625EA0E}">
        <p15:presenceInfo xmlns:p15="http://schemas.microsoft.com/office/powerpoint/2012/main" userId="S::chrihorv@ntnu.no::a883ca73-a3a6-4204-991d-57d11551949a" providerId="AD"/>
      </p:ext>
    </p:extLst>
  </p:cmAuthor>
  <p:cmAuthor id="5" name="Gry-Lene Johansen" initials="GLJ" lastIdx="4" clrIdx="4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09E"/>
    <a:srgbClr val="0D3475"/>
    <a:srgbClr val="6E91B9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0C838B-8685-C1C5-6437-4FA7730A93E5}" v="1" dt="2022-09-19T12:07:30.085"/>
    <p1510:client id="{6E2B2118-9535-473A-B222-2D8E2FEC4047}" vWet="2" dt="2022-09-20T11:21:08.051"/>
    <p1510:client id="{7B8F7B99-5D96-46BB-9198-C97746ABFCEB}" v="102" dt="2022-09-19T14:05:57.761"/>
    <p1510:client id="{7E1C31CC-684A-489F-8A64-3C9E36AF27DA}" v="157" dt="2022-09-19T14:00:30.466"/>
    <p1510:client id="{995DF2F0-14C8-4F57-82C3-B7511E517D19}" vWet="2" dt="2022-09-20T11:21:14.521"/>
    <p1510:client id="{D136F6D5-C7EF-49E6-9D65-68045382D4E7}" v="2501" dt="2022-09-20T11:29:53.655"/>
    <p1510:client id="{D7EA57EF-95ED-4FA0-8E2C-AFA72028121F}" v="5347" dt="2022-09-20T07:14:02.539"/>
    <p1510:client id="{E9D49986-9B3C-AED8-86F2-8D445606BDD3}" v="1" dt="2022-09-19T11:59:26.8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1643" autoAdjust="0"/>
  </p:normalViewPr>
  <p:slideViewPr>
    <p:cSldViewPr snapToGrid="0">
      <p:cViewPr varScale="1">
        <p:scale>
          <a:sx n="128" d="100"/>
          <a:sy n="128" d="100"/>
        </p:scale>
        <p:origin x="126" y="31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1</a:t>
          </a:r>
        </a:p>
        <a:p>
          <a:r>
            <a:rPr lang="nb-NO" sz="900" b="0"/>
            <a:t>Introduksjon til opplæring </a:t>
          </a:r>
          <a:r>
            <a:rPr lang="nb-NO" sz="9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2</a:t>
          </a:r>
        </a:p>
        <a:p>
          <a:r>
            <a:rPr lang="nb-NO" sz="800"/>
            <a:t>Refleksjon, spørsmål fra egenlæring, økonomi-modell for rolle, nye rutiner og prosesser forberedelse til systemkurs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7DA3CFE7-7D89-4913-BC3F-2CA3C079F89B}">
      <dgm:prSet phldrT="[Text]" custT="1"/>
      <dgm:spPr/>
      <dgm:t>
        <a:bodyPr/>
        <a:lstStyle/>
        <a:p>
          <a:r>
            <a:rPr lang="nb-NO" sz="1000" b="1"/>
            <a:t>DFØ Systemkurs </a:t>
          </a:r>
          <a:r>
            <a:rPr lang="nb-NO" sz="1000" b="0"/>
            <a:t>for </a:t>
          </a:r>
          <a:r>
            <a:rPr lang="nb-NO" sz="900" b="0"/>
            <a:t>INNKJØPERE</a:t>
          </a:r>
        </a:p>
        <a:p>
          <a:r>
            <a:rPr lang="nb-NO" sz="1000" b="0"/>
            <a:t>Del 1</a:t>
          </a:r>
        </a:p>
      </dgm:t>
    </dgm:pt>
    <dgm:pt modelId="{72C5A94F-9B0B-4158-A235-5400083F509A}" type="parTrans" cxnId="{A6A97208-54C0-40A1-8650-9F20C646B0B8}">
      <dgm:prSet/>
      <dgm:spPr/>
      <dgm:t>
        <a:bodyPr/>
        <a:lstStyle/>
        <a:p>
          <a:endParaRPr lang="nb-NO" sz="1000"/>
        </a:p>
      </dgm:t>
    </dgm:pt>
    <dgm:pt modelId="{E507EA99-562E-4706-B34B-8AD4B1E89C3A}" type="sibTrans" cxnId="{A6A97208-54C0-40A1-8650-9F20C646B0B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900"/>
            <a:t>E-læring for rolle og prosess</a:t>
          </a:r>
        </a:p>
        <a:p>
          <a:r>
            <a:rPr lang="nb-NO" sz="900"/>
            <a:t>Økonomi-modell – videokurs</a:t>
          </a:r>
        </a:p>
        <a:p>
          <a:r>
            <a:rPr lang="nb-NO" sz="9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  <a:r>
            <a:rPr lang="nb-NO" sz="1000" b="1"/>
            <a:t> </a:t>
          </a:r>
          <a:endParaRPr lang="nb-NO" sz="1000"/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1"/>
            <a:t>NTNU </a:t>
          </a:r>
        </a:p>
        <a:p>
          <a:pPr algn="ctr"/>
          <a:r>
            <a:rPr lang="nb-NO" sz="1000" b="1"/>
            <a:t>kurs 3</a:t>
          </a:r>
        </a:p>
        <a:p>
          <a:pPr algn="l"/>
          <a:endParaRPr lang="nb-NO" sz="1000" b="0"/>
        </a:p>
        <a:p>
          <a:pPr algn="ctr"/>
          <a:r>
            <a:rPr lang="nb-NO" sz="1000" b="0"/>
            <a:t>Refleksjon/ spørsmål etter DFØ System-opplæring 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2251F105-5557-44AE-89D0-371934ABC882}">
      <dgm:prSet phldrT="[Text]" custT="1"/>
      <dgm:spPr/>
      <dgm:t>
        <a:bodyPr/>
        <a:lstStyle/>
        <a:p>
          <a:r>
            <a:rPr lang="nb-NO" sz="1000"/>
            <a:t>DFØ systemkurs</a:t>
          </a:r>
        </a:p>
        <a:p>
          <a:r>
            <a:rPr lang="nb-NO" sz="1000"/>
            <a:t>for </a:t>
          </a:r>
          <a:r>
            <a:rPr lang="nb-NO" sz="900"/>
            <a:t>INNKJØPERE</a:t>
          </a:r>
          <a:endParaRPr lang="nb-NO" sz="1000"/>
        </a:p>
        <a:p>
          <a:r>
            <a:rPr lang="nb-NO" sz="1000" b="1"/>
            <a:t>Del 2 </a:t>
          </a:r>
        </a:p>
      </dgm:t>
    </dgm:pt>
    <dgm:pt modelId="{A4453E89-F930-4D78-B38A-C46960D6F42A}" type="parTrans" cxnId="{67909F85-D277-4032-88F0-DF443D5DB024}">
      <dgm:prSet/>
      <dgm:spPr/>
      <dgm:t>
        <a:bodyPr/>
        <a:lstStyle/>
        <a:p>
          <a:endParaRPr lang="nb-NO"/>
        </a:p>
      </dgm:t>
    </dgm:pt>
    <dgm:pt modelId="{2B5E8A19-0B99-4B51-943F-DF33CEFD7492}" type="sibTrans" cxnId="{67909F85-D277-4032-88F0-DF443D5DB024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80FF13B9-9E37-40F6-9F8E-2F3C6B915A0F}" type="pres">
      <dgm:prSet presAssocID="{7DA3CFE7-7D89-4913-BC3F-2CA3C079F89B}" presName="textNode" presStyleLbl="node1" presStyleIdx="3" presStyleCnt="8" custScaleX="119750">
        <dgm:presLayoutVars>
          <dgm:bulletEnabled val="1"/>
        </dgm:presLayoutVars>
      </dgm:prSet>
      <dgm:spPr/>
    </dgm:pt>
    <dgm:pt modelId="{8DEA0620-39AA-49D8-A548-D1B5BD5E626E}" type="pres">
      <dgm:prSet presAssocID="{E507EA99-562E-4706-B34B-8AD4B1E89C3A}" presName="sibTrans" presStyleCnt="0"/>
      <dgm:spPr/>
    </dgm:pt>
    <dgm:pt modelId="{62201053-D849-4FCD-B993-571EBFA5243E}" type="pres">
      <dgm:prSet presAssocID="{4DE5FC12-B9CD-4A02-BDE0-39B691768F20}" presName="textNode" presStyleLbl="node1" presStyleIdx="4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5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>
        <dgm:presLayoutVars>
          <dgm:bulletEnabled val="1"/>
        </dgm:presLayoutVars>
      </dgm:prSet>
      <dgm:spPr/>
    </dgm:pt>
    <dgm:pt modelId="{D2ED9BFF-D53C-4C76-B730-F7CA334B26D7}" type="pres">
      <dgm:prSet presAssocID="{98BCD1D1-EAF3-425C-B6F6-E04AA99EC169}" presName="sibTrans" presStyleCnt="0"/>
      <dgm:spPr/>
    </dgm:pt>
    <dgm:pt modelId="{A5A648B9-87AF-4CEF-B416-A1D97628CFB1}" type="pres">
      <dgm:prSet presAssocID="{2251F105-5557-44AE-89D0-371934ABC882}" presName="textNode" presStyleLbl="node1" presStyleIdx="7" presStyleCnt="8" custScaleX="151085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A6A97208-54C0-40A1-8650-9F20C646B0B8}" srcId="{D4510DCF-F6C7-4F55-BB5C-90DAF0DE14B1}" destId="{7DA3CFE7-7D89-4913-BC3F-2CA3C079F89B}" srcOrd="3" destOrd="0" parTransId="{72C5A94F-9B0B-4158-A235-5400083F509A}" sibTransId="{E507EA99-562E-4706-B34B-8AD4B1E89C3A}"/>
    <dgm:cxn modelId="{1BC64411-C5D4-4301-AFCF-0DD4E5231BC2}" type="presOf" srcId="{7DA3CFE7-7D89-4913-BC3F-2CA3C079F89B}" destId="{80FF13B9-9E37-40F6-9F8E-2F3C6B915A0F}" srcOrd="0" destOrd="0" presId="urn:microsoft.com/office/officeart/2005/8/layout/hProcess9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6508A972-8F63-4362-B5E0-51EF2FB243CC}" srcId="{D4510DCF-F6C7-4F55-BB5C-90DAF0DE14B1}" destId="{4DE5FC12-B9CD-4A02-BDE0-39B691768F20}" srcOrd="4" destOrd="0" parTransId="{9D817DC7-AAB1-4058-B8C8-E3D459ED4A18}" sibTransId="{4017AB02-F3AF-439D-BB6B-5BE31340E0A5}"/>
    <dgm:cxn modelId="{D55BA973-FAB0-4B72-A569-AC1EA6FB64E1}" type="presOf" srcId="{2251F105-5557-44AE-89D0-371934ABC882}" destId="{A5A648B9-87AF-4CEF-B416-A1D97628CFB1}" srcOrd="0" destOrd="0" presId="urn:microsoft.com/office/officeart/2005/8/layout/hProcess9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58A15184-ECEA-4F5F-8407-8F253FAD094D}" srcId="{D4510DCF-F6C7-4F55-BB5C-90DAF0DE14B1}" destId="{2B824F8D-0F4A-482D-AD39-400F2CA8ECB5}" srcOrd="5" destOrd="0" parTransId="{8A6F6102-DE15-4309-9B75-14FA68B3CB6A}" sibTransId="{CECD5D49-6715-44F0-A859-68373F625845}"/>
    <dgm:cxn modelId="{67909F85-D277-4032-88F0-DF443D5DB024}" srcId="{D4510DCF-F6C7-4F55-BB5C-90DAF0DE14B1}" destId="{2251F105-5557-44AE-89D0-371934ABC882}" srcOrd="7" destOrd="0" parTransId="{A4453E89-F930-4D78-B38A-C46960D6F42A}" sibTransId="{2B5E8A19-0B99-4B51-943F-DF33CEFD7492}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4E43A739-90AA-4E25-A021-964A002F4E2B}" type="presParOf" srcId="{9D6D4CED-C3A2-46AF-B90D-B5F7A9C8DC25}" destId="{80FF13B9-9E37-40F6-9F8E-2F3C6B915A0F}" srcOrd="6" destOrd="0" presId="urn:microsoft.com/office/officeart/2005/8/layout/hProcess9"/>
    <dgm:cxn modelId="{D4F8C891-386F-4865-A6C2-E10F04B22DE3}" type="presParOf" srcId="{9D6D4CED-C3A2-46AF-B90D-B5F7A9C8DC25}" destId="{8DEA0620-39AA-49D8-A548-D1B5BD5E626E}" srcOrd="7" destOrd="0" presId="urn:microsoft.com/office/officeart/2005/8/layout/hProcess9"/>
    <dgm:cxn modelId="{3D482222-2752-4DFB-9D01-2AE5306C70BE}" type="presParOf" srcId="{9D6D4CED-C3A2-46AF-B90D-B5F7A9C8DC25}" destId="{62201053-D849-4FCD-B993-571EBFA5243E}" srcOrd="8" destOrd="0" presId="urn:microsoft.com/office/officeart/2005/8/layout/hProcess9"/>
    <dgm:cxn modelId="{FEAFEF48-D5E7-4307-B51E-B90CD2DFF2DF}" type="presParOf" srcId="{9D6D4CED-C3A2-46AF-B90D-B5F7A9C8DC25}" destId="{578FC630-A1E1-479C-99C2-977F66AFC56D}" srcOrd="9" destOrd="0" presId="urn:microsoft.com/office/officeart/2005/8/layout/hProcess9"/>
    <dgm:cxn modelId="{4095BDB7-43D7-4C05-AE44-A5D277A6ADB6}" type="presParOf" srcId="{9D6D4CED-C3A2-46AF-B90D-B5F7A9C8DC25}" destId="{B18664F0-C6BE-4C15-A7B4-20D1856CF816}" srcOrd="10" destOrd="0" presId="urn:microsoft.com/office/officeart/2005/8/layout/hProcess9"/>
    <dgm:cxn modelId="{E14F2FDD-65C2-42A4-868C-246C657C3C57}" type="presParOf" srcId="{9D6D4CED-C3A2-46AF-B90D-B5F7A9C8DC25}" destId="{5DBD0445-5ED5-4D39-967A-EFCC983DD71F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3FDB0764-A108-4F2A-B879-C6D660ABECC2}" type="presParOf" srcId="{9D6D4CED-C3A2-46AF-B90D-B5F7A9C8DC25}" destId="{D2ED9BFF-D53C-4C76-B730-F7CA334B26D7}" srcOrd="13" destOrd="0" presId="urn:microsoft.com/office/officeart/2005/8/layout/hProcess9"/>
    <dgm:cxn modelId="{723938DA-54E1-4133-884E-E7FD88A20E52}" type="presParOf" srcId="{9D6D4CED-C3A2-46AF-B90D-B5F7A9C8DC25}" destId="{A5A648B9-87AF-4CEF-B416-A1D97628CFB1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0"/>
            <a:t>NTNU Kurs 1</a:t>
          </a:r>
        </a:p>
        <a:p>
          <a:r>
            <a:rPr lang="nb-NO" sz="1000" b="0"/>
            <a:t>Introduksjon til opplæring </a:t>
          </a:r>
          <a:r>
            <a:rPr lang="nb-NO" sz="10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0"/>
            <a:t>NTNU Kurs 2</a:t>
          </a:r>
        </a:p>
        <a:p>
          <a:r>
            <a:rPr lang="nb-NO" sz="900"/>
            <a:t>Refleksjon, spørsmål fra egenlæring, økonomimodell for rolle, nye rutiner og prosesser forberedelse til systemkurs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7DA3CFE7-7D89-4913-BC3F-2CA3C079F89B}">
      <dgm:prSet phldrT="[Text]" custT="1"/>
      <dgm:spPr/>
      <dgm:t>
        <a:bodyPr/>
        <a:lstStyle/>
        <a:p>
          <a:r>
            <a:rPr lang="nb-NO" sz="1000" b="0"/>
            <a:t>DFØ Systemkurs for Fagrekvirent</a:t>
          </a:r>
        </a:p>
      </dgm:t>
    </dgm:pt>
    <dgm:pt modelId="{72C5A94F-9B0B-4158-A235-5400083F509A}" type="parTrans" cxnId="{A6A97208-54C0-40A1-8650-9F20C646B0B8}">
      <dgm:prSet/>
      <dgm:spPr/>
      <dgm:t>
        <a:bodyPr/>
        <a:lstStyle/>
        <a:p>
          <a:endParaRPr lang="nb-NO" sz="1000"/>
        </a:p>
      </dgm:t>
    </dgm:pt>
    <dgm:pt modelId="{E507EA99-562E-4706-B34B-8AD4B1E89C3A}" type="sibTrans" cxnId="{A6A97208-54C0-40A1-8650-9F20C646B0B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0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0"/>
            <a:t>Egenlæring</a:t>
          </a:r>
        </a:p>
        <a:p>
          <a:r>
            <a:rPr lang="nb-NO" sz="1000"/>
            <a:t>E-læring for rolle og prosess</a:t>
          </a:r>
        </a:p>
        <a:p>
          <a:r>
            <a:rPr lang="nb-NO" sz="1000"/>
            <a:t>Økonomi-modell – videokurs</a:t>
          </a:r>
        </a:p>
        <a:p>
          <a:r>
            <a:rPr lang="nb-NO" sz="10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</a:p>
        <a:p>
          <a:r>
            <a:rPr lang="nb-NO" sz="1000" b="0"/>
            <a:t>Lokal oppfølging </a:t>
          </a:r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0"/>
            <a:t>NTNU kurs 3</a:t>
          </a:r>
        </a:p>
        <a:p>
          <a:pPr algn="l"/>
          <a:r>
            <a:rPr lang="nb-NO" sz="1000" b="0"/>
            <a:t>Refleksjon/ spørsmål etter DFØ System-opplæring 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31F01669-38A1-48B5-B557-834268B2C88F}">
      <dgm:prSet phldrT="[Text]" custT="1"/>
      <dgm:spPr/>
      <dgm:t>
        <a:bodyPr/>
        <a:lstStyle/>
        <a:p>
          <a:r>
            <a:rPr lang="nb-NO" sz="1000"/>
            <a:t>DFØ Systemkurs for Fagrekvirent </a:t>
          </a:r>
        </a:p>
        <a:p>
          <a:r>
            <a:rPr lang="nb-NO" sz="1000"/>
            <a:t>(samme som før jul)</a:t>
          </a:r>
        </a:p>
      </dgm:t>
    </dgm:pt>
    <dgm:pt modelId="{4A220FD2-5AF6-432D-9142-B23DA2F5CC75}" type="parTrans" cxnId="{11735DC1-1C50-45D3-B120-4F2778D1410D}">
      <dgm:prSet/>
      <dgm:spPr/>
      <dgm:t>
        <a:bodyPr/>
        <a:lstStyle/>
        <a:p>
          <a:endParaRPr lang="nb-NO"/>
        </a:p>
      </dgm:t>
    </dgm:pt>
    <dgm:pt modelId="{CDE1F9C4-5DED-4CEE-8BC3-B002D6753151}" type="sibTrans" cxnId="{11735DC1-1C50-45D3-B120-4F2778D1410D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80FF13B9-9E37-40F6-9F8E-2F3C6B915A0F}" type="pres">
      <dgm:prSet presAssocID="{7DA3CFE7-7D89-4913-BC3F-2CA3C079F89B}" presName="textNode" presStyleLbl="node1" presStyleIdx="3" presStyleCnt="8" custScaleX="119750">
        <dgm:presLayoutVars>
          <dgm:bulletEnabled val="1"/>
        </dgm:presLayoutVars>
      </dgm:prSet>
      <dgm:spPr/>
    </dgm:pt>
    <dgm:pt modelId="{8DEA0620-39AA-49D8-A548-D1B5BD5E626E}" type="pres">
      <dgm:prSet presAssocID="{E507EA99-562E-4706-B34B-8AD4B1E89C3A}" presName="sibTrans" presStyleCnt="0"/>
      <dgm:spPr/>
    </dgm:pt>
    <dgm:pt modelId="{62201053-D849-4FCD-B993-571EBFA5243E}" type="pres">
      <dgm:prSet presAssocID="{4DE5FC12-B9CD-4A02-BDE0-39B691768F20}" presName="textNode" presStyleLbl="node1" presStyleIdx="4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5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 custScaleX="139650">
        <dgm:presLayoutVars>
          <dgm:bulletEnabled val="1"/>
        </dgm:presLayoutVars>
      </dgm:prSet>
      <dgm:spPr/>
    </dgm:pt>
    <dgm:pt modelId="{AF4B7DDB-3BD9-4B6D-93E4-2C30E3F72A87}" type="pres">
      <dgm:prSet presAssocID="{98BCD1D1-EAF3-425C-B6F6-E04AA99EC169}" presName="sibTrans" presStyleCnt="0"/>
      <dgm:spPr/>
    </dgm:pt>
    <dgm:pt modelId="{A9803DBB-F235-4AFB-867E-42141B7FCAF3}" type="pres">
      <dgm:prSet presAssocID="{31F01669-38A1-48B5-B557-834268B2C88F}" presName="textNode" presStyleLbl="node1" presStyleIdx="7" presStyleCnt="8" custScaleX="113866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A6A97208-54C0-40A1-8650-9F20C646B0B8}" srcId="{D4510DCF-F6C7-4F55-BB5C-90DAF0DE14B1}" destId="{7DA3CFE7-7D89-4913-BC3F-2CA3C079F89B}" srcOrd="3" destOrd="0" parTransId="{72C5A94F-9B0B-4158-A235-5400083F509A}" sibTransId="{E507EA99-562E-4706-B34B-8AD4B1E89C3A}"/>
    <dgm:cxn modelId="{1BC64411-C5D4-4301-AFCF-0DD4E5231BC2}" type="presOf" srcId="{7DA3CFE7-7D89-4913-BC3F-2CA3C079F89B}" destId="{80FF13B9-9E37-40F6-9F8E-2F3C6B915A0F}" srcOrd="0" destOrd="0" presId="urn:microsoft.com/office/officeart/2005/8/layout/hProcess9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6508A972-8F63-4362-B5E0-51EF2FB243CC}" srcId="{D4510DCF-F6C7-4F55-BB5C-90DAF0DE14B1}" destId="{4DE5FC12-B9CD-4A02-BDE0-39B691768F20}" srcOrd="4" destOrd="0" parTransId="{9D817DC7-AAB1-4058-B8C8-E3D459ED4A18}" sibTransId="{4017AB02-F3AF-439D-BB6B-5BE31340E0A5}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00A5A083-8AB3-49D3-A7BB-4758346C3043}" type="presOf" srcId="{31F01669-38A1-48B5-B557-834268B2C88F}" destId="{A9803DBB-F235-4AFB-867E-42141B7FCAF3}" srcOrd="0" destOrd="0" presId="urn:microsoft.com/office/officeart/2005/8/layout/hProcess9"/>
    <dgm:cxn modelId="{58A15184-ECEA-4F5F-8407-8F253FAD094D}" srcId="{D4510DCF-F6C7-4F55-BB5C-90DAF0DE14B1}" destId="{2B824F8D-0F4A-482D-AD39-400F2CA8ECB5}" srcOrd="5" destOrd="0" parTransId="{8A6F6102-DE15-4309-9B75-14FA68B3CB6A}" sibTransId="{CECD5D49-6715-44F0-A859-68373F625845}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11735DC1-1C50-45D3-B120-4F2778D1410D}" srcId="{D4510DCF-F6C7-4F55-BB5C-90DAF0DE14B1}" destId="{31F01669-38A1-48B5-B557-834268B2C88F}" srcOrd="7" destOrd="0" parTransId="{4A220FD2-5AF6-432D-9142-B23DA2F5CC75}" sibTransId="{CDE1F9C4-5DED-4CEE-8BC3-B002D6753151}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4E43A739-90AA-4E25-A021-964A002F4E2B}" type="presParOf" srcId="{9D6D4CED-C3A2-46AF-B90D-B5F7A9C8DC25}" destId="{80FF13B9-9E37-40F6-9F8E-2F3C6B915A0F}" srcOrd="6" destOrd="0" presId="urn:microsoft.com/office/officeart/2005/8/layout/hProcess9"/>
    <dgm:cxn modelId="{D4F8C891-386F-4865-A6C2-E10F04B22DE3}" type="presParOf" srcId="{9D6D4CED-C3A2-46AF-B90D-B5F7A9C8DC25}" destId="{8DEA0620-39AA-49D8-A548-D1B5BD5E626E}" srcOrd="7" destOrd="0" presId="urn:microsoft.com/office/officeart/2005/8/layout/hProcess9"/>
    <dgm:cxn modelId="{3D482222-2752-4DFB-9D01-2AE5306C70BE}" type="presParOf" srcId="{9D6D4CED-C3A2-46AF-B90D-B5F7A9C8DC25}" destId="{62201053-D849-4FCD-B993-571EBFA5243E}" srcOrd="8" destOrd="0" presId="urn:microsoft.com/office/officeart/2005/8/layout/hProcess9"/>
    <dgm:cxn modelId="{FEAFEF48-D5E7-4307-B51E-B90CD2DFF2DF}" type="presParOf" srcId="{9D6D4CED-C3A2-46AF-B90D-B5F7A9C8DC25}" destId="{578FC630-A1E1-479C-99C2-977F66AFC56D}" srcOrd="9" destOrd="0" presId="urn:microsoft.com/office/officeart/2005/8/layout/hProcess9"/>
    <dgm:cxn modelId="{4095BDB7-43D7-4C05-AE44-A5D277A6ADB6}" type="presParOf" srcId="{9D6D4CED-C3A2-46AF-B90D-B5F7A9C8DC25}" destId="{B18664F0-C6BE-4C15-A7B4-20D1856CF816}" srcOrd="10" destOrd="0" presId="urn:microsoft.com/office/officeart/2005/8/layout/hProcess9"/>
    <dgm:cxn modelId="{E14F2FDD-65C2-42A4-868C-246C657C3C57}" type="presParOf" srcId="{9D6D4CED-C3A2-46AF-B90D-B5F7A9C8DC25}" destId="{5DBD0445-5ED5-4D39-967A-EFCC983DD71F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8C657942-6A04-4A79-8A3A-7272AB555081}" type="presParOf" srcId="{9D6D4CED-C3A2-46AF-B90D-B5F7A9C8DC25}" destId="{AF4B7DDB-3BD9-4B6D-93E4-2C30E3F72A87}" srcOrd="13" destOrd="0" presId="urn:microsoft.com/office/officeart/2005/8/layout/hProcess9"/>
    <dgm:cxn modelId="{68A31907-8162-4E19-A8E6-A0535194CF08}" type="presParOf" srcId="{9D6D4CED-C3A2-46AF-B90D-B5F7A9C8DC25}" destId="{A9803DBB-F235-4AFB-867E-42141B7FCAF3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8F44B10-7FF8-45EC-8D25-CDB3615F1B8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D643BA1-E85E-471E-9CCA-1382D82827BF}">
      <dgm:prSet phldrT="[Text]"/>
      <dgm:spPr/>
      <dgm:t>
        <a:bodyPr/>
        <a:lstStyle/>
        <a:p>
          <a:r>
            <a:rPr lang="nb-NO"/>
            <a:t>Innkjøpere</a:t>
          </a:r>
        </a:p>
      </dgm:t>
    </dgm:pt>
    <dgm:pt modelId="{1626D27F-838B-4C30-A2A9-4AC0A17C1C7A}" type="parTrans" cxnId="{7CA5EE7F-5850-41B3-97AC-E924315F8495}">
      <dgm:prSet/>
      <dgm:spPr/>
      <dgm:t>
        <a:bodyPr/>
        <a:lstStyle/>
        <a:p>
          <a:endParaRPr lang="nb-NO"/>
        </a:p>
      </dgm:t>
    </dgm:pt>
    <dgm:pt modelId="{C2AAEDDA-56F4-4792-9965-6144DBBE6777}" type="sibTrans" cxnId="{7CA5EE7F-5850-41B3-97AC-E924315F8495}">
      <dgm:prSet/>
      <dgm:spPr/>
      <dgm:t>
        <a:bodyPr/>
        <a:lstStyle/>
        <a:p>
          <a:endParaRPr lang="nb-NO"/>
        </a:p>
      </dgm:t>
    </dgm:pt>
    <dgm:pt modelId="{CAF4A744-3813-44F8-82E7-7B680A513909}">
      <dgm:prSet phldrT="[Text]"/>
      <dgm:spPr/>
      <dgm:t>
        <a:bodyPr/>
        <a:lstStyle/>
        <a:p>
          <a:r>
            <a:rPr lang="nb-NO"/>
            <a:t>Fagrekvirenter</a:t>
          </a:r>
        </a:p>
      </dgm:t>
    </dgm:pt>
    <dgm:pt modelId="{589BADEE-5303-4BAB-8A3C-185AB1A6D64C}" type="parTrans" cxnId="{4B3671A4-BCF2-40E4-8AA1-993C2CB18FC9}">
      <dgm:prSet/>
      <dgm:spPr/>
      <dgm:t>
        <a:bodyPr/>
        <a:lstStyle/>
        <a:p>
          <a:endParaRPr lang="nb-NO"/>
        </a:p>
      </dgm:t>
    </dgm:pt>
    <dgm:pt modelId="{B3FAD07B-BAF6-44D1-B2F5-4CE28F7178C6}" type="sibTrans" cxnId="{4B3671A4-BCF2-40E4-8AA1-993C2CB18FC9}">
      <dgm:prSet/>
      <dgm:spPr/>
      <dgm:t>
        <a:bodyPr/>
        <a:lstStyle/>
        <a:p>
          <a:endParaRPr lang="nb-NO"/>
        </a:p>
      </dgm:t>
    </dgm:pt>
    <dgm:pt modelId="{9BA205BE-8BE5-4353-83DE-3DA6A5DBF6A3}">
      <dgm:prSet phldrT="[Text]"/>
      <dgm:spPr/>
      <dgm:t>
        <a:bodyPr/>
        <a:lstStyle/>
        <a:p>
          <a:r>
            <a:rPr lang="nb-NO"/>
            <a:t>NTNU Kurs for </a:t>
          </a:r>
          <a:r>
            <a:rPr lang="nb-NO" err="1"/>
            <a:t>Btb</a:t>
          </a:r>
          <a:r>
            <a:rPr lang="nb-NO"/>
            <a:t>-prosessen</a:t>
          </a:r>
          <a:r>
            <a:rPr lang="nb-NO" baseline="30000"/>
            <a:t>**)</a:t>
          </a:r>
          <a:endParaRPr lang="nb-NO"/>
        </a:p>
      </dgm:t>
    </dgm:pt>
    <dgm:pt modelId="{72B73E54-4FA0-4C60-B017-0BAB4680E019}" type="parTrans" cxnId="{4AF23715-BD07-4A2A-BE88-0242D257D0A0}">
      <dgm:prSet/>
      <dgm:spPr/>
      <dgm:t>
        <a:bodyPr/>
        <a:lstStyle/>
        <a:p>
          <a:endParaRPr lang="nb-NO"/>
        </a:p>
      </dgm:t>
    </dgm:pt>
    <dgm:pt modelId="{57160F80-B72D-434A-8642-D5D30D90A715}" type="sibTrans" cxnId="{4AF23715-BD07-4A2A-BE88-0242D257D0A0}">
      <dgm:prSet/>
      <dgm:spPr/>
      <dgm:t>
        <a:bodyPr/>
        <a:lstStyle/>
        <a:p>
          <a:endParaRPr lang="nb-NO"/>
        </a:p>
      </dgm:t>
    </dgm:pt>
    <dgm:pt modelId="{3C97B021-A539-49AB-8443-B7262B118710}">
      <dgm:prSet phldrT="[Text]"/>
      <dgm:spPr/>
      <dgm:t>
        <a:bodyPr/>
        <a:lstStyle/>
        <a:p>
          <a:r>
            <a:rPr lang="nb-NO"/>
            <a:t>Lokal oppfølging og opplæring</a:t>
          </a:r>
        </a:p>
      </dgm:t>
    </dgm:pt>
    <dgm:pt modelId="{7C0D9A85-E821-4812-8166-0AED1E418D67}" type="parTrans" cxnId="{ED41F025-20FE-401B-82CF-EC7A78903AF7}">
      <dgm:prSet/>
      <dgm:spPr/>
      <dgm:t>
        <a:bodyPr/>
        <a:lstStyle/>
        <a:p>
          <a:endParaRPr lang="nb-NO"/>
        </a:p>
      </dgm:t>
    </dgm:pt>
    <dgm:pt modelId="{9D1635B1-7D5B-40EE-93F6-5ADF8166B87E}" type="sibTrans" cxnId="{ED41F025-20FE-401B-82CF-EC7A78903AF7}">
      <dgm:prSet/>
      <dgm:spPr/>
      <dgm:t>
        <a:bodyPr/>
        <a:lstStyle/>
        <a:p>
          <a:endParaRPr lang="nb-NO"/>
        </a:p>
      </dgm:t>
    </dgm:pt>
    <dgm:pt modelId="{C3705A2A-2BA0-4604-91E0-8201F767BE82}">
      <dgm:prSet phldrT="[Text]"/>
      <dgm:spPr/>
      <dgm:t>
        <a:bodyPr/>
        <a:lstStyle/>
        <a:p>
          <a:r>
            <a:rPr lang="nb-NO"/>
            <a:t>DFØ Systemkurs 2:  Inngående faktura - trykkekurs</a:t>
          </a:r>
        </a:p>
      </dgm:t>
    </dgm:pt>
    <dgm:pt modelId="{35A88541-9376-40FA-804D-20BC7203248F}" type="parTrans" cxnId="{985C16BF-012E-436B-A5EA-3B035036EAFE}">
      <dgm:prSet/>
      <dgm:spPr/>
      <dgm:t>
        <a:bodyPr/>
        <a:lstStyle/>
        <a:p>
          <a:endParaRPr lang="nb-NO"/>
        </a:p>
      </dgm:t>
    </dgm:pt>
    <dgm:pt modelId="{D700AF71-BE45-453E-89BE-7658705B0AE8}" type="sibTrans" cxnId="{985C16BF-012E-436B-A5EA-3B035036EAFE}">
      <dgm:prSet/>
      <dgm:spPr/>
      <dgm:t>
        <a:bodyPr/>
        <a:lstStyle/>
        <a:p>
          <a:endParaRPr lang="nb-NO"/>
        </a:p>
      </dgm:t>
    </dgm:pt>
    <dgm:pt modelId="{967CD0FE-8644-48EB-BD7D-7BECA636287F}">
      <dgm:prSet phldrT="[Text]"/>
      <dgm:spPr/>
      <dgm:t>
        <a:bodyPr/>
        <a:lstStyle/>
        <a:p>
          <a:r>
            <a:rPr lang="nb-NO"/>
            <a:t>DFØ Systemkurs1: Innkjøpsforespørsel - trykkekurs</a:t>
          </a:r>
        </a:p>
      </dgm:t>
    </dgm:pt>
    <dgm:pt modelId="{15CE3F1B-B444-490E-8B30-83F499AD4E79}" type="parTrans" cxnId="{25A991E1-CEBF-4D28-971B-09567B268621}">
      <dgm:prSet/>
      <dgm:spPr/>
      <dgm:t>
        <a:bodyPr/>
        <a:lstStyle/>
        <a:p>
          <a:endParaRPr lang="nb-NO"/>
        </a:p>
      </dgm:t>
    </dgm:pt>
    <dgm:pt modelId="{9A2BD18A-294D-4DF9-807E-DD75566B2422}" type="sibTrans" cxnId="{25A991E1-CEBF-4D28-971B-09567B268621}">
      <dgm:prSet/>
      <dgm:spPr/>
      <dgm:t>
        <a:bodyPr/>
        <a:lstStyle/>
        <a:p>
          <a:endParaRPr lang="nb-NO"/>
        </a:p>
      </dgm:t>
    </dgm:pt>
    <dgm:pt modelId="{F78F87B9-7203-4AAA-8554-430C41CCE03A}">
      <dgm:prSet phldrT="[Text]"/>
      <dgm:spPr/>
      <dgm:t>
        <a:bodyPr/>
        <a:lstStyle/>
        <a:p>
          <a:r>
            <a:rPr lang="nb-NO"/>
            <a:t>DFØ Systemkurs – Innkjøpsforespørsel for fagrekvirenter</a:t>
          </a:r>
        </a:p>
      </dgm:t>
    </dgm:pt>
    <dgm:pt modelId="{ED44D8AD-AB10-471E-AE1A-6D2F18BE2EA2}" type="parTrans" cxnId="{3DB48290-E45B-46A2-A1E9-C55DFE077766}">
      <dgm:prSet/>
      <dgm:spPr/>
      <dgm:t>
        <a:bodyPr/>
        <a:lstStyle/>
        <a:p>
          <a:endParaRPr lang="nb-NO"/>
        </a:p>
      </dgm:t>
    </dgm:pt>
    <dgm:pt modelId="{20A609DE-3F23-4C83-B9DC-8E6859EE49B9}" type="sibTrans" cxnId="{3DB48290-E45B-46A2-A1E9-C55DFE077766}">
      <dgm:prSet/>
      <dgm:spPr/>
      <dgm:t>
        <a:bodyPr/>
        <a:lstStyle/>
        <a:p>
          <a:endParaRPr lang="nb-NO"/>
        </a:p>
      </dgm:t>
    </dgm:pt>
    <dgm:pt modelId="{CE4D7BA0-8D84-41DA-B472-546F93B3AF4F}">
      <dgm:prSet phldrT="[Text]"/>
      <dgm:spPr/>
      <dgm:t>
        <a:bodyPr/>
        <a:lstStyle/>
        <a:p>
          <a:r>
            <a:rPr lang="nb-NO"/>
            <a:t>NTNU Kurs for </a:t>
          </a:r>
          <a:r>
            <a:rPr lang="nb-NO" err="1"/>
            <a:t>Btb</a:t>
          </a:r>
          <a:r>
            <a:rPr lang="nb-NO"/>
            <a:t>-prosessen</a:t>
          </a:r>
          <a:r>
            <a:rPr lang="nb-NO" baseline="30000"/>
            <a:t>**)</a:t>
          </a:r>
          <a:endParaRPr lang="nb-NO"/>
        </a:p>
      </dgm:t>
    </dgm:pt>
    <dgm:pt modelId="{861B59AD-1E1A-4D30-81F3-3EED8EC16257}" type="parTrans" cxnId="{2BE7259C-9308-4D6F-814E-0B5AD90478A8}">
      <dgm:prSet/>
      <dgm:spPr/>
      <dgm:t>
        <a:bodyPr/>
        <a:lstStyle/>
        <a:p>
          <a:endParaRPr lang="nb-NO"/>
        </a:p>
      </dgm:t>
    </dgm:pt>
    <dgm:pt modelId="{AD5E2A63-B051-4B0B-87E3-95CD1B371D07}" type="sibTrans" cxnId="{2BE7259C-9308-4D6F-814E-0B5AD90478A8}">
      <dgm:prSet/>
      <dgm:spPr/>
      <dgm:t>
        <a:bodyPr/>
        <a:lstStyle/>
        <a:p>
          <a:endParaRPr lang="nb-NO"/>
        </a:p>
      </dgm:t>
    </dgm:pt>
    <dgm:pt modelId="{4EEC744F-173E-4332-90DD-1C77106769F1}">
      <dgm:prSet phldrT="[Text]"/>
      <dgm:spPr/>
      <dgm:t>
        <a:bodyPr/>
        <a:lstStyle/>
        <a:p>
          <a:r>
            <a:rPr lang="nb-NO"/>
            <a:t>Egenlæring</a:t>
          </a:r>
          <a:r>
            <a:rPr lang="nb-NO" baseline="30000"/>
            <a:t>*)</a:t>
          </a:r>
          <a:endParaRPr lang="nb-NO"/>
        </a:p>
      </dgm:t>
    </dgm:pt>
    <dgm:pt modelId="{2CE4128F-FEE7-4317-AC28-DD240935DE28}" type="parTrans" cxnId="{95EAB418-3953-42F7-B244-1D1168FBB06D}">
      <dgm:prSet/>
      <dgm:spPr/>
      <dgm:t>
        <a:bodyPr/>
        <a:lstStyle/>
        <a:p>
          <a:endParaRPr lang="nb-NO"/>
        </a:p>
      </dgm:t>
    </dgm:pt>
    <dgm:pt modelId="{1F3DDE79-61C6-4DC4-BD8E-9994295861A3}" type="sibTrans" cxnId="{95EAB418-3953-42F7-B244-1D1168FBB06D}">
      <dgm:prSet/>
      <dgm:spPr/>
      <dgm:t>
        <a:bodyPr/>
        <a:lstStyle/>
        <a:p>
          <a:endParaRPr lang="nb-NO"/>
        </a:p>
      </dgm:t>
    </dgm:pt>
    <dgm:pt modelId="{C758D954-AE8C-4F27-8EA9-53EDBB1B2C66}">
      <dgm:prSet phldrT="[Text]"/>
      <dgm:spPr/>
      <dgm:t>
        <a:bodyPr/>
        <a:lstStyle/>
        <a:p>
          <a:r>
            <a:rPr lang="nb-NO"/>
            <a:t>Egenlæring</a:t>
          </a:r>
          <a:r>
            <a:rPr lang="nb-NO" baseline="30000"/>
            <a:t>*)</a:t>
          </a:r>
          <a:endParaRPr lang="nb-NO"/>
        </a:p>
      </dgm:t>
    </dgm:pt>
    <dgm:pt modelId="{054D1BA9-DE94-4508-BEAC-F0E6DF8FEF2E}" type="parTrans" cxnId="{D3BFBF8B-293C-46C2-B4A6-57128225DA68}">
      <dgm:prSet/>
      <dgm:spPr/>
      <dgm:t>
        <a:bodyPr/>
        <a:lstStyle/>
        <a:p>
          <a:endParaRPr lang="nb-NO"/>
        </a:p>
      </dgm:t>
    </dgm:pt>
    <dgm:pt modelId="{3B0917D8-D58D-41B8-A790-F96AF7F668F3}" type="sibTrans" cxnId="{D3BFBF8B-293C-46C2-B4A6-57128225DA68}">
      <dgm:prSet/>
      <dgm:spPr/>
      <dgm:t>
        <a:bodyPr/>
        <a:lstStyle/>
        <a:p>
          <a:endParaRPr lang="nb-NO"/>
        </a:p>
      </dgm:t>
    </dgm:pt>
    <dgm:pt modelId="{C31E4E60-2D5E-4270-BAEC-1CB06329C857}">
      <dgm:prSet phldrT="[Text]"/>
      <dgm:spPr/>
      <dgm:t>
        <a:bodyPr/>
        <a:lstStyle/>
        <a:p>
          <a:r>
            <a:rPr lang="nb-NO"/>
            <a:t>Etablere kompetansenettverk for rollen</a:t>
          </a:r>
        </a:p>
      </dgm:t>
    </dgm:pt>
    <dgm:pt modelId="{4041FBDE-FA41-4113-B26D-359B5256A3BB}" type="parTrans" cxnId="{AC3625EA-D002-4E07-A95E-861F8B0498D8}">
      <dgm:prSet/>
      <dgm:spPr/>
      <dgm:t>
        <a:bodyPr/>
        <a:lstStyle/>
        <a:p>
          <a:endParaRPr lang="nb-NO"/>
        </a:p>
      </dgm:t>
    </dgm:pt>
    <dgm:pt modelId="{87D179FD-B84F-4464-A9FD-6DCD0890F6B3}" type="sibTrans" cxnId="{AC3625EA-D002-4E07-A95E-861F8B0498D8}">
      <dgm:prSet/>
      <dgm:spPr/>
      <dgm:t>
        <a:bodyPr/>
        <a:lstStyle/>
        <a:p>
          <a:endParaRPr lang="nb-NO"/>
        </a:p>
      </dgm:t>
    </dgm:pt>
    <dgm:pt modelId="{EE490709-9FF3-41BD-92E4-E0E4236A61EA}" type="pres">
      <dgm:prSet presAssocID="{A8F44B10-7FF8-45EC-8D25-CDB3615F1B86}" presName="linear" presStyleCnt="0">
        <dgm:presLayoutVars>
          <dgm:dir/>
          <dgm:animLvl val="lvl"/>
          <dgm:resizeHandles val="exact"/>
        </dgm:presLayoutVars>
      </dgm:prSet>
      <dgm:spPr/>
    </dgm:pt>
    <dgm:pt modelId="{5B27B98C-60CD-486B-9735-311493FE7A5E}" type="pres">
      <dgm:prSet presAssocID="{1D643BA1-E85E-471E-9CCA-1382D82827BF}" presName="parentLin" presStyleCnt="0"/>
      <dgm:spPr/>
    </dgm:pt>
    <dgm:pt modelId="{EBB3B556-123D-439B-BFAC-E292467A8CCB}" type="pres">
      <dgm:prSet presAssocID="{1D643BA1-E85E-471E-9CCA-1382D82827BF}" presName="parentLeftMargin" presStyleLbl="node1" presStyleIdx="0" presStyleCnt="2"/>
      <dgm:spPr/>
    </dgm:pt>
    <dgm:pt modelId="{42A653AE-9379-483F-9C0D-FB422368ECBA}" type="pres">
      <dgm:prSet presAssocID="{1D643BA1-E85E-471E-9CCA-1382D82827BF}" presName="parentText" presStyleLbl="node1" presStyleIdx="0" presStyleCnt="2" custLinFactNeighborX="-2925" custLinFactNeighborY="-3167">
        <dgm:presLayoutVars>
          <dgm:chMax val="0"/>
          <dgm:bulletEnabled val="1"/>
        </dgm:presLayoutVars>
      </dgm:prSet>
      <dgm:spPr/>
    </dgm:pt>
    <dgm:pt modelId="{82C9E473-6AEC-4531-A098-7EE00274D69D}" type="pres">
      <dgm:prSet presAssocID="{1D643BA1-E85E-471E-9CCA-1382D82827BF}" presName="negativeSpace" presStyleCnt="0"/>
      <dgm:spPr/>
    </dgm:pt>
    <dgm:pt modelId="{0AF1DB65-7714-4C55-8A72-4F0BEDFFC536}" type="pres">
      <dgm:prSet presAssocID="{1D643BA1-E85E-471E-9CCA-1382D82827BF}" presName="childText" presStyleLbl="conFgAcc1" presStyleIdx="0" presStyleCnt="2" custLinFactNeighborX="1663" custLinFactNeighborY="68006">
        <dgm:presLayoutVars>
          <dgm:bulletEnabled val="1"/>
        </dgm:presLayoutVars>
      </dgm:prSet>
      <dgm:spPr/>
    </dgm:pt>
    <dgm:pt modelId="{78EA250A-F1E6-4E49-B096-CF8B683A9364}" type="pres">
      <dgm:prSet presAssocID="{C2AAEDDA-56F4-4792-9965-6144DBBE6777}" presName="spaceBetweenRectangles" presStyleCnt="0"/>
      <dgm:spPr/>
    </dgm:pt>
    <dgm:pt modelId="{F2ABE0B9-E754-4359-B903-8E4D8569B5A9}" type="pres">
      <dgm:prSet presAssocID="{CAF4A744-3813-44F8-82E7-7B680A513909}" presName="parentLin" presStyleCnt="0"/>
      <dgm:spPr/>
    </dgm:pt>
    <dgm:pt modelId="{462FA903-B0A3-4272-B492-E0B11174131D}" type="pres">
      <dgm:prSet presAssocID="{CAF4A744-3813-44F8-82E7-7B680A513909}" presName="parentLeftMargin" presStyleLbl="node1" presStyleIdx="0" presStyleCnt="2"/>
      <dgm:spPr/>
    </dgm:pt>
    <dgm:pt modelId="{6042C111-C4EF-48DB-9B82-B75F03DF710E}" type="pres">
      <dgm:prSet presAssocID="{CAF4A744-3813-44F8-82E7-7B680A51390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18C8E3D-670B-4853-A6C1-A981D067FBEE}" type="pres">
      <dgm:prSet presAssocID="{CAF4A744-3813-44F8-82E7-7B680A513909}" presName="negativeSpace" presStyleCnt="0"/>
      <dgm:spPr/>
    </dgm:pt>
    <dgm:pt modelId="{18E9B6D3-DA2A-4BD4-8281-94CCC9CDF175}" type="pres">
      <dgm:prSet presAssocID="{CAF4A744-3813-44F8-82E7-7B680A513909}" presName="childText" presStyleLbl="conFgAcc1" presStyleIdx="1" presStyleCnt="2" custLinFactNeighborX="-5499">
        <dgm:presLayoutVars>
          <dgm:bulletEnabled val="1"/>
        </dgm:presLayoutVars>
      </dgm:prSet>
      <dgm:spPr/>
    </dgm:pt>
  </dgm:ptLst>
  <dgm:cxnLst>
    <dgm:cxn modelId="{FB2EF811-551E-48B1-8242-5623E6289232}" type="presOf" srcId="{967CD0FE-8644-48EB-BD7D-7BECA636287F}" destId="{0AF1DB65-7714-4C55-8A72-4F0BEDFFC536}" srcOrd="0" destOrd="2" presId="urn:microsoft.com/office/officeart/2005/8/layout/list1"/>
    <dgm:cxn modelId="{4AF23715-BD07-4A2A-BE88-0242D257D0A0}" srcId="{CAF4A744-3813-44F8-82E7-7B680A513909}" destId="{9BA205BE-8BE5-4353-83DE-3DA6A5DBF6A3}" srcOrd="0" destOrd="0" parTransId="{72B73E54-4FA0-4C60-B017-0BAB4680E019}" sibTransId="{57160F80-B72D-434A-8642-D5D30D90A715}"/>
    <dgm:cxn modelId="{95EAB418-3953-42F7-B244-1D1168FBB06D}" srcId="{1D643BA1-E85E-471E-9CCA-1382D82827BF}" destId="{4EEC744F-173E-4332-90DD-1C77106769F1}" srcOrd="1" destOrd="0" parTransId="{2CE4128F-FEE7-4317-AC28-DD240935DE28}" sibTransId="{1F3DDE79-61C6-4DC4-BD8E-9994295861A3}"/>
    <dgm:cxn modelId="{6E380A1A-F15E-4AD3-B302-A960F452ACD2}" type="presOf" srcId="{F78F87B9-7203-4AAA-8554-430C41CCE03A}" destId="{18E9B6D3-DA2A-4BD4-8281-94CCC9CDF175}" srcOrd="0" destOrd="2" presId="urn:microsoft.com/office/officeart/2005/8/layout/list1"/>
    <dgm:cxn modelId="{80A6E51F-2A68-42EF-AFBB-E903E8E6229C}" type="presOf" srcId="{A8F44B10-7FF8-45EC-8D25-CDB3615F1B86}" destId="{EE490709-9FF3-41BD-92E4-E0E4236A61EA}" srcOrd="0" destOrd="0" presId="urn:microsoft.com/office/officeart/2005/8/layout/list1"/>
    <dgm:cxn modelId="{ED41F025-20FE-401B-82CF-EC7A78903AF7}" srcId="{CAF4A744-3813-44F8-82E7-7B680A513909}" destId="{3C97B021-A539-49AB-8443-B7262B118710}" srcOrd="3" destOrd="0" parTransId="{7C0D9A85-E821-4812-8166-0AED1E418D67}" sibTransId="{9D1635B1-7D5B-40EE-93F6-5ADF8166B87E}"/>
    <dgm:cxn modelId="{53AAB863-595B-457B-8772-E67BC41C8ED4}" type="presOf" srcId="{1D643BA1-E85E-471E-9CCA-1382D82827BF}" destId="{42A653AE-9379-483F-9C0D-FB422368ECBA}" srcOrd="1" destOrd="0" presId="urn:microsoft.com/office/officeart/2005/8/layout/list1"/>
    <dgm:cxn modelId="{D47FF564-88DE-429D-B254-77DCC3C7BA1B}" type="presOf" srcId="{3C97B021-A539-49AB-8443-B7262B118710}" destId="{18E9B6D3-DA2A-4BD4-8281-94CCC9CDF175}" srcOrd="0" destOrd="3" presId="urn:microsoft.com/office/officeart/2005/8/layout/list1"/>
    <dgm:cxn modelId="{644B8872-47CF-4EDC-A365-954AB5B55947}" type="presOf" srcId="{C758D954-AE8C-4F27-8EA9-53EDBB1B2C66}" destId="{18E9B6D3-DA2A-4BD4-8281-94CCC9CDF175}" srcOrd="0" destOrd="1" presId="urn:microsoft.com/office/officeart/2005/8/layout/list1"/>
    <dgm:cxn modelId="{4A6BCF56-F141-408B-8EAF-0CFA84B75094}" type="presOf" srcId="{4EEC744F-173E-4332-90DD-1C77106769F1}" destId="{0AF1DB65-7714-4C55-8A72-4F0BEDFFC536}" srcOrd="0" destOrd="1" presId="urn:microsoft.com/office/officeart/2005/8/layout/list1"/>
    <dgm:cxn modelId="{7CA5EE7F-5850-41B3-97AC-E924315F8495}" srcId="{A8F44B10-7FF8-45EC-8D25-CDB3615F1B86}" destId="{1D643BA1-E85E-471E-9CCA-1382D82827BF}" srcOrd="0" destOrd="0" parTransId="{1626D27F-838B-4C30-A2A9-4AC0A17C1C7A}" sibTransId="{C2AAEDDA-56F4-4792-9965-6144DBBE6777}"/>
    <dgm:cxn modelId="{D3BFBF8B-293C-46C2-B4A6-57128225DA68}" srcId="{CAF4A744-3813-44F8-82E7-7B680A513909}" destId="{C758D954-AE8C-4F27-8EA9-53EDBB1B2C66}" srcOrd="1" destOrd="0" parTransId="{054D1BA9-DE94-4508-BEAC-F0E6DF8FEF2E}" sibTransId="{3B0917D8-D58D-41B8-A790-F96AF7F668F3}"/>
    <dgm:cxn modelId="{3DB48290-E45B-46A2-A1E9-C55DFE077766}" srcId="{CAF4A744-3813-44F8-82E7-7B680A513909}" destId="{F78F87B9-7203-4AAA-8554-430C41CCE03A}" srcOrd="2" destOrd="0" parTransId="{ED44D8AD-AB10-471E-AE1A-6D2F18BE2EA2}" sibTransId="{20A609DE-3F23-4C83-B9DC-8E6859EE49B9}"/>
    <dgm:cxn modelId="{2BE7259C-9308-4D6F-814E-0B5AD90478A8}" srcId="{1D643BA1-E85E-471E-9CCA-1382D82827BF}" destId="{CE4D7BA0-8D84-41DA-B472-546F93B3AF4F}" srcOrd="0" destOrd="0" parTransId="{861B59AD-1E1A-4D30-81F3-3EED8EC16257}" sibTransId="{AD5E2A63-B051-4B0B-87E3-95CD1B371D07}"/>
    <dgm:cxn modelId="{4B3671A4-BCF2-40E4-8AA1-993C2CB18FC9}" srcId="{A8F44B10-7FF8-45EC-8D25-CDB3615F1B86}" destId="{CAF4A744-3813-44F8-82E7-7B680A513909}" srcOrd="1" destOrd="0" parTransId="{589BADEE-5303-4BAB-8A3C-185AB1A6D64C}" sibTransId="{B3FAD07B-BAF6-44D1-B2F5-4CE28F7178C6}"/>
    <dgm:cxn modelId="{717424AC-D8D8-473B-ADFF-0ADD5B19D410}" type="presOf" srcId="{1D643BA1-E85E-471E-9CCA-1382D82827BF}" destId="{EBB3B556-123D-439B-BFAC-E292467A8CCB}" srcOrd="0" destOrd="0" presId="urn:microsoft.com/office/officeart/2005/8/layout/list1"/>
    <dgm:cxn modelId="{32678BAF-7E60-40E0-A625-1E39AE8D1EAB}" type="presOf" srcId="{CAF4A744-3813-44F8-82E7-7B680A513909}" destId="{6042C111-C4EF-48DB-9B82-B75F03DF710E}" srcOrd="1" destOrd="0" presId="urn:microsoft.com/office/officeart/2005/8/layout/list1"/>
    <dgm:cxn modelId="{985C16BF-012E-436B-A5EA-3B035036EAFE}" srcId="{1D643BA1-E85E-471E-9CCA-1382D82827BF}" destId="{C3705A2A-2BA0-4604-91E0-8201F767BE82}" srcOrd="3" destOrd="0" parTransId="{35A88541-9376-40FA-804D-20BC7203248F}" sibTransId="{D700AF71-BE45-453E-89BE-7658705B0AE8}"/>
    <dgm:cxn modelId="{840919C0-453A-42D8-9722-A257A82DC3AF}" type="presOf" srcId="{9BA205BE-8BE5-4353-83DE-3DA6A5DBF6A3}" destId="{18E9B6D3-DA2A-4BD4-8281-94CCC9CDF175}" srcOrd="0" destOrd="0" presId="urn:microsoft.com/office/officeart/2005/8/layout/list1"/>
    <dgm:cxn modelId="{D630EACD-7D41-448C-B7ED-7EA67F842BB7}" type="presOf" srcId="{CE4D7BA0-8D84-41DA-B472-546F93B3AF4F}" destId="{0AF1DB65-7714-4C55-8A72-4F0BEDFFC536}" srcOrd="0" destOrd="0" presId="urn:microsoft.com/office/officeart/2005/8/layout/list1"/>
    <dgm:cxn modelId="{2BB48ED7-7179-4716-B62F-C958D9DBD83E}" type="presOf" srcId="{CAF4A744-3813-44F8-82E7-7B680A513909}" destId="{462FA903-B0A3-4272-B492-E0B11174131D}" srcOrd="0" destOrd="0" presId="urn:microsoft.com/office/officeart/2005/8/layout/list1"/>
    <dgm:cxn modelId="{011092DC-0F9D-47D1-8D6D-E8908F825F97}" type="presOf" srcId="{C31E4E60-2D5E-4270-BAEC-1CB06329C857}" destId="{0AF1DB65-7714-4C55-8A72-4F0BEDFFC536}" srcOrd="0" destOrd="4" presId="urn:microsoft.com/office/officeart/2005/8/layout/list1"/>
    <dgm:cxn modelId="{16B8D2E0-837D-4797-9D56-2C8D6B0932F7}" type="presOf" srcId="{C3705A2A-2BA0-4604-91E0-8201F767BE82}" destId="{0AF1DB65-7714-4C55-8A72-4F0BEDFFC536}" srcOrd="0" destOrd="3" presId="urn:microsoft.com/office/officeart/2005/8/layout/list1"/>
    <dgm:cxn modelId="{25A991E1-CEBF-4D28-971B-09567B268621}" srcId="{1D643BA1-E85E-471E-9CCA-1382D82827BF}" destId="{967CD0FE-8644-48EB-BD7D-7BECA636287F}" srcOrd="2" destOrd="0" parTransId="{15CE3F1B-B444-490E-8B30-83F499AD4E79}" sibTransId="{9A2BD18A-294D-4DF9-807E-DD75566B2422}"/>
    <dgm:cxn modelId="{AC3625EA-D002-4E07-A95E-861F8B0498D8}" srcId="{1D643BA1-E85E-471E-9CCA-1382D82827BF}" destId="{C31E4E60-2D5E-4270-BAEC-1CB06329C857}" srcOrd="4" destOrd="0" parTransId="{4041FBDE-FA41-4113-B26D-359B5256A3BB}" sibTransId="{87D179FD-B84F-4464-A9FD-6DCD0890F6B3}"/>
    <dgm:cxn modelId="{DECA45C1-2AA2-4768-8D63-092F839396CE}" type="presParOf" srcId="{EE490709-9FF3-41BD-92E4-E0E4236A61EA}" destId="{5B27B98C-60CD-486B-9735-311493FE7A5E}" srcOrd="0" destOrd="0" presId="urn:microsoft.com/office/officeart/2005/8/layout/list1"/>
    <dgm:cxn modelId="{D93D949F-52AD-4193-9AC3-DACE6B54BCA5}" type="presParOf" srcId="{5B27B98C-60CD-486B-9735-311493FE7A5E}" destId="{EBB3B556-123D-439B-BFAC-E292467A8CCB}" srcOrd="0" destOrd="0" presId="urn:microsoft.com/office/officeart/2005/8/layout/list1"/>
    <dgm:cxn modelId="{B24FA3D6-CE93-4DA1-8726-7D98B6878984}" type="presParOf" srcId="{5B27B98C-60CD-486B-9735-311493FE7A5E}" destId="{42A653AE-9379-483F-9C0D-FB422368ECBA}" srcOrd="1" destOrd="0" presId="urn:microsoft.com/office/officeart/2005/8/layout/list1"/>
    <dgm:cxn modelId="{C9B513FC-6710-48E7-82CA-A7C598334F9C}" type="presParOf" srcId="{EE490709-9FF3-41BD-92E4-E0E4236A61EA}" destId="{82C9E473-6AEC-4531-A098-7EE00274D69D}" srcOrd="1" destOrd="0" presId="urn:microsoft.com/office/officeart/2005/8/layout/list1"/>
    <dgm:cxn modelId="{F9C3AF50-4FF0-491E-AC29-49A77110E2E0}" type="presParOf" srcId="{EE490709-9FF3-41BD-92E4-E0E4236A61EA}" destId="{0AF1DB65-7714-4C55-8A72-4F0BEDFFC536}" srcOrd="2" destOrd="0" presId="urn:microsoft.com/office/officeart/2005/8/layout/list1"/>
    <dgm:cxn modelId="{B13FDFEE-08D7-4ED4-9616-2F9424A25C0F}" type="presParOf" srcId="{EE490709-9FF3-41BD-92E4-E0E4236A61EA}" destId="{78EA250A-F1E6-4E49-B096-CF8B683A9364}" srcOrd="3" destOrd="0" presId="urn:microsoft.com/office/officeart/2005/8/layout/list1"/>
    <dgm:cxn modelId="{F825D698-DE24-4164-9793-4DC8B62627A7}" type="presParOf" srcId="{EE490709-9FF3-41BD-92E4-E0E4236A61EA}" destId="{F2ABE0B9-E754-4359-B903-8E4D8569B5A9}" srcOrd="4" destOrd="0" presId="urn:microsoft.com/office/officeart/2005/8/layout/list1"/>
    <dgm:cxn modelId="{76F284DB-9D9F-4C93-A8BC-1F03E985E9FB}" type="presParOf" srcId="{F2ABE0B9-E754-4359-B903-8E4D8569B5A9}" destId="{462FA903-B0A3-4272-B492-E0B11174131D}" srcOrd="0" destOrd="0" presId="urn:microsoft.com/office/officeart/2005/8/layout/list1"/>
    <dgm:cxn modelId="{5D52E8B8-CE6B-4909-90CD-21BF4EC01386}" type="presParOf" srcId="{F2ABE0B9-E754-4359-B903-8E4D8569B5A9}" destId="{6042C111-C4EF-48DB-9B82-B75F03DF710E}" srcOrd="1" destOrd="0" presId="urn:microsoft.com/office/officeart/2005/8/layout/list1"/>
    <dgm:cxn modelId="{997C0799-D2AE-4C9C-9A64-DA9496F512CC}" type="presParOf" srcId="{EE490709-9FF3-41BD-92E4-E0E4236A61EA}" destId="{118C8E3D-670B-4853-A6C1-A981D067FBEE}" srcOrd="5" destOrd="0" presId="urn:microsoft.com/office/officeart/2005/8/layout/list1"/>
    <dgm:cxn modelId="{F69AD88F-6A70-458C-99F6-68EC07BAC49D}" type="presParOf" srcId="{EE490709-9FF3-41BD-92E4-E0E4236A61EA}" destId="{18E9B6D3-DA2A-4BD4-8281-94CCC9CDF17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F94F8AA-E008-4EFE-9AC1-AABB602556E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2BBA2F0-B8ED-4411-B54B-22D5899E4028}">
      <dgm:prSet phldrT="[Text]" custT="1"/>
      <dgm:spPr/>
      <dgm:t>
        <a:bodyPr/>
        <a:lstStyle/>
        <a:p>
          <a:r>
            <a:rPr lang="nb-NO" sz="1400"/>
            <a:t>Innkjøpere – </a:t>
          </a:r>
          <a:r>
            <a:rPr lang="nb-NO" sz="1400" b="1"/>
            <a:t>fysiske</a:t>
          </a:r>
          <a:r>
            <a:rPr lang="nb-NO" sz="1400"/>
            <a:t> kurs i Trondheim (3 alternative datoer)</a:t>
          </a:r>
        </a:p>
        <a:p>
          <a:r>
            <a:rPr lang="nb-NO" sz="1400"/>
            <a:t>Fagrekvirent – Digitalt kurs (3 alternative datoer) </a:t>
          </a:r>
        </a:p>
      </dgm:t>
    </dgm:pt>
    <dgm:pt modelId="{205EC97E-D891-4A75-B926-95285A863BD7}" type="parTrans" cxnId="{B8D9F1F9-C6D3-4DE0-B876-A27DF74C81CB}">
      <dgm:prSet/>
      <dgm:spPr/>
      <dgm:t>
        <a:bodyPr/>
        <a:lstStyle/>
        <a:p>
          <a:endParaRPr lang="nb-NO"/>
        </a:p>
      </dgm:t>
    </dgm:pt>
    <dgm:pt modelId="{DB500709-0816-477E-95CC-DB4B4AF48A79}" type="sibTrans" cxnId="{B8D9F1F9-C6D3-4DE0-B876-A27DF74C81CB}">
      <dgm:prSet/>
      <dgm:spPr/>
      <dgm:t>
        <a:bodyPr/>
        <a:lstStyle/>
        <a:p>
          <a:endParaRPr lang="nb-NO"/>
        </a:p>
      </dgm:t>
    </dgm:pt>
    <dgm:pt modelId="{AFCF822E-2DCC-40D3-8FBC-32F1B8852667}">
      <dgm:prSet phldrT="[Text]" custT="1"/>
      <dgm:spPr/>
      <dgm:t>
        <a:bodyPr/>
        <a:lstStyle/>
        <a:p>
          <a:r>
            <a:rPr lang="nb-NO" sz="1400"/>
            <a:t>Det sendes ut </a:t>
          </a:r>
          <a:r>
            <a:rPr lang="nb-NO" sz="1400" b="1"/>
            <a:t>kalenderinnkalling i Outlook </a:t>
          </a:r>
          <a:r>
            <a:rPr lang="nb-NO" sz="1400"/>
            <a:t>til alle kurs</a:t>
          </a:r>
        </a:p>
      </dgm:t>
    </dgm:pt>
    <dgm:pt modelId="{504CCEA1-2358-4218-AE52-2F38CCF26CA5}" type="parTrans" cxnId="{568E9300-FC87-4AF5-8342-ED5BD0F1FB51}">
      <dgm:prSet/>
      <dgm:spPr/>
      <dgm:t>
        <a:bodyPr/>
        <a:lstStyle/>
        <a:p>
          <a:endParaRPr lang="nb-NO"/>
        </a:p>
      </dgm:t>
    </dgm:pt>
    <dgm:pt modelId="{8BAF4F52-1871-4D57-8E42-AE61D8E45A81}" type="sibTrans" cxnId="{568E9300-FC87-4AF5-8342-ED5BD0F1FB51}">
      <dgm:prSet/>
      <dgm:spPr/>
      <dgm:t>
        <a:bodyPr/>
        <a:lstStyle/>
        <a:p>
          <a:endParaRPr lang="nb-NO"/>
        </a:p>
      </dgm:t>
    </dgm:pt>
    <dgm:pt modelId="{EB0E145B-615C-4744-A4FC-6EA922E2DBA7}">
      <dgm:prSet phldrT="[Text]" custT="1"/>
      <dgm:spPr/>
      <dgm:t>
        <a:bodyPr/>
        <a:lstStyle/>
        <a:p>
          <a:r>
            <a:rPr lang="nb-NO" sz="1400"/>
            <a:t>Kurs arrangert av DFØ har påmelding</a:t>
          </a:r>
        </a:p>
      </dgm:t>
    </dgm:pt>
    <dgm:pt modelId="{FC090970-668B-4367-A912-3D221D90F788}" type="parTrans" cxnId="{D757B212-CF2F-4ADD-8D1D-05DFCF6942C0}">
      <dgm:prSet/>
      <dgm:spPr/>
      <dgm:t>
        <a:bodyPr/>
        <a:lstStyle/>
        <a:p>
          <a:endParaRPr lang="nb-NO"/>
        </a:p>
      </dgm:t>
    </dgm:pt>
    <dgm:pt modelId="{54E5F7E6-D950-4F51-8B47-6E0B0532BFF2}" type="sibTrans" cxnId="{D757B212-CF2F-4ADD-8D1D-05DFCF6942C0}">
      <dgm:prSet/>
      <dgm:spPr/>
      <dgm:t>
        <a:bodyPr/>
        <a:lstStyle/>
        <a:p>
          <a:endParaRPr lang="nb-NO"/>
        </a:p>
      </dgm:t>
    </dgm:pt>
    <dgm:pt modelId="{9B5DF1A1-064D-4055-A178-E779027903F0}">
      <dgm:prSet phldrT="[Text]" custT="1"/>
      <dgm:spPr/>
      <dgm:t>
        <a:bodyPr/>
        <a:lstStyle/>
        <a:p>
          <a:r>
            <a:rPr lang="nb-NO" sz="1400"/>
            <a:t>Det vil være påmeldingslenke i kalenderinvitasjonen der det er aktuelt</a:t>
          </a:r>
        </a:p>
      </dgm:t>
    </dgm:pt>
    <dgm:pt modelId="{2F84C960-E81E-4685-9441-EF218B652B44}" type="sibTrans" cxnId="{EA3069AF-2A58-4199-A14F-E7CBEC83A3E3}">
      <dgm:prSet/>
      <dgm:spPr/>
      <dgm:t>
        <a:bodyPr/>
        <a:lstStyle/>
        <a:p>
          <a:endParaRPr lang="nb-NO"/>
        </a:p>
      </dgm:t>
    </dgm:pt>
    <dgm:pt modelId="{0EF9CA68-3F2F-4162-A228-EC633CC31CE8}" type="parTrans" cxnId="{EA3069AF-2A58-4199-A14F-E7CBEC83A3E3}">
      <dgm:prSet/>
      <dgm:spPr/>
      <dgm:t>
        <a:bodyPr/>
        <a:lstStyle/>
        <a:p>
          <a:endParaRPr lang="nb-NO"/>
        </a:p>
      </dgm:t>
    </dgm:pt>
    <dgm:pt modelId="{8E33B4AA-1F8B-4040-9E7C-D21736596130}">
      <dgm:prSet phldrT="[Text]" custT="1"/>
      <dgm:spPr/>
      <dgm:t>
        <a:bodyPr/>
        <a:lstStyle/>
        <a:p>
          <a:r>
            <a:rPr lang="nb-NO" sz="1400"/>
            <a:t>Det er viktig å huske å melde seg på kurset </a:t>
          </a:r>
        </a:p>
      </dgm:t>
    </dgm:pt>
    <dgm:pt modelId="{55D57AB5-527C-4C31-821A-E36422D9A6C3}" type="sibTrans" cxnId="{A0FEF59D-1197-4FC9-8B6B-2FA189BDADFB}">
      <dgm:prSet/>
      <dgm:spPr/>
      <dgm:t>
        <a:bodyPr/>
        <a:lstStyle/>
        <a:p>
          <a:endParaRPr lang="nb-NO"/>
        </a:p>
      </dgm:t>
    </dgm:pt>
    <dgm:pt modelId="{8238E7B6-FDC0-4BE6-AA8E-98DEFDD3B603}" type="parTrans" cxnId="{A0FEF59D-1197-4FC9-8B6B-2FA189BDADFB}">
      <dgm:prSet/>
      <dgm:spPr/>
      <dgm:t>
        <a:bodyPr/>
        <a:lstStyle/>
        <a:p>
          <a:endParaRPr lang="nb-NO"/>
        </a:p>
      </dgm:t>
    </dgm:pt>
    <dgm:pt modelId="{6095924E-7841-454C-B8E9-0B64B7D5FBC2}">
      <dgm:prSet custT="1"/>
      <dgm:spPr/>
      <dgm:t>
        <a:bodyPr/>
        <a:lstStyle/>
        <a:p>
          <a:r>
            <a:rPr lang="nb-NO" sz="1400"/>
            <a:t>Noen dager før kursstart vil alle som har meldt seg på kurset få påloggingslenke</a:t>
          </a:r>
          <a:endParaRPr lang="en-US" sz="1400"/>
        </a:p>
      </dgm:t>
    </dgm:pt>
    <dgm:pt modelId="{40DA5A8E-7BFA-4853-BD5E-42095C6366C4}" type="sibTrans" cxnId="{9F36F1CD-07D9-4C24-AC6E-130CF505ABA8}">
      <dgm:prSet/>
      <dgm:spPr/>
      <dgm:t>
        <a:bodyPr/>
        <a:lstStyle/>
        <a:p>
          <a:endParaRPr lang="nb-NO"/>
        </a:p>
      </dgm:t>
    </dgm:pt>
    <dgm:pt modelId="{79CE74E1-6544-450E-9460-8D76BFCFDA50}" type="parTrans" cxnId="{9F36F1CD-07D9-4C24-AC6E-130CF505ABA8}">
      <dgm:prSet/>
      <dgm:spPr/>
      <dgm:t>
        <a:bodyPr/>
        <a:lstStyle/>
        <a:p>
          <a:endParaRPr lang="nb-NO"/>
        </a:p>
      </dgm:t>
    </dgm:pt>
    <dgm:pt modelId="{1E3929B8-3EDA-441B-9F40-2C9928CDDE6B}">
      <dgm:prSet phldrT="[Text]" custT="1"/>
      <dgm:spPr/>
      <dgm:t>
        <a:bodyPr/>
        <a:lstStyle/>
        <a:p>
          <a:r>
            <a:rPr lang="nb-NO" sz="1400"/>
            <a:t>Du får innkalling i forhold til den rollen du skal ha</a:t>
          </a:r>
        </a:p>
      </dgm:t>
    </dgm:pt>
    <dgm:pt modelId="{F891072C-ECDE-4251-A9E8-A84744730B9B}" type="parTrans" cxnId="{A4824D48-1DDB-4069-B956-4AAC15C7DA36}">
      <dgm:prSet/>
      <dgm:spPr/>
      <dgm:t>
        <a:bodyPr/>
        <a:lstStyle/>
        <a:p>
          <a:endParaRPr lang="nb-NO"/>
        </a:p>
      </dgm:t>
    </dgm:pt>
    <dgm:pt modelId="{991AC1AB-B166-4401-B5A4-5329622D4169}" type="sibTrans" cxnId="{A4824D48-1DDB-4069-B956-4AAC15C7DA36}">
      <dgm:prSet/>
      <dgm:spPr/>
      <dgm:t>
        <a:bodyPr/>
        <a:lstStyle/>
        <a:p>
          <a:endParaRPr lang="nb-NO"/>
        </a:p>
      </dgm:t>
    </dgm:pt>
    <dgm:pt modelId="{94739FBE-4350-408D-B1B1-CE7A09FA8D78}" type="pres">
      <dgm:prSet presAssocID="{2F94F8AA-E008-4EFE-9AC1-AABB602556E3}" presName="linear" presStyleCnt="0">
        <dgm:presLayoutVars>
          <dgm:animLvl val="lvl"/>
          <dgm:resizeHandles val="exact"/>
        </dgm:presLayoutVars>
      </dgm:prSet>
      <dgm:spPr/>
    </dgm:pt>
    <dgm:pt modelId="{CB3581E3-CBF4-4C37-82D9-EC8AB0BAC01C}" type="pres">
      <dgm:prSet presAssocID="{12BBA2F0-B8ED-4411-B54B-22D5899E402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67EC52C-3386-487A-BD08-AE746165D6FA}" type="pres">
      <dgm:prSet presAssocID="{DB500709-0816-477E-95CC-DB4B4AF48A79}" presName="spacer" presStyleCnt="0"/>
      <dgm:spPr/>
    </dgm:pt>
    <dgm:pt modelId="{D2724AE2-EB22-46F6-AACA-30DB703321F1}" type="pres">
      <dgm:prSet presAssocID="{AFCF822E-2DCC-40D3-8FBC-32F1B885266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E30CD0-05CE-4086-A6CA-E914762407D1}" type="pres">
      <dgm:prSet presAssocID="{AFCF822E-2DCC-40D3-8FBC-32F1B8852667}" presName="childText" presStyleLbl="revTx" presStyleIdx="0" presStyleCnt="2">
        <dgm:presLayoutVars>
          <dgm:bulletEnabled val="1"/>
        </dgm:presLayoutVars>
      </dgm:prSet>
      <dgm:spPr/>
    </dgm:pt>
    <dgm:pt modelId="{8C3CF94D-8BA0-414C-BB9F-5029F48F5003}" type="pres">
      <dgm:prSet presAssocID="{EB0E145B-615C-4744-A4FC-6EA922E2DBA7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DA589DC8-9E93-408C-9137-E87F453A0FFC}" type="pres">
      <dgm:prSet presAssocID="{EB0E145B-615C-4744-A4FC-6EA922E2DBA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68E9300-FC87-4AF5-8342-ED5BD0F1FB51}" srcId="{2F94F8AA-E008-4EFE-9AC1-AABB602556E3}" destId="{AFCF822E-2DCC-40D3-8FBC-32F1B8852667}" srcOrd="1" destOrd="0" parTransId="{504CCEA1-2358-4218-AE52-2F38CCF26CA5}" sibTransId="{8BAF4F52-1871-4D57-8E42-AE61D8E45A81}"/>
    <dgm:cxn modelId="{C59D8C0A-4433-41B0-BB72-C7CE8141A323}" type="presOf" srcId="{6095924E-7841-454C-B8E9-0B64B7D5FBC2}" destId="{DA589DC8-9E93-408C-9137-E87F453A0FFC}" srcOrd="0" destOrd="2" presId="urn:microsoft.com/office/officeart/2005/8/layout/vList2"/>
    <dgm:cxn modelId="{D757B212-CF2F-4ADD-8D1D-05DFCF6942C0}" srcId="{2F94F8AA-E008-4EFE-9AC1-AABB602556E3}" destId="{EB0E145B-615C-4744-A4FC-6EA922E2DBA7}" srcOrd="2" destOrd="0" parTransId="{FC090970-668B-4367-A912-3D221D90F788}" sibTransId="{54E5F7E6-D950-4F51-8B47-6E0B0532BFF2}"/>
    <dgm:cxn modelId="{85C5163F-AC4B-42AF-8B01-6F415912EC2C}" type="presOf" srcId="{12BBA2F0-B8ED-4411-B54B-22D5899E4028}" destId="{CB3581E3-CBF4-4C37-82D9-EC8AB0BAC01C}" srcOrd="0" destOrd="0" presId="urn:microsoft.com/office/officeart/2005/8/layout/vList2"/>
    <dgm:cxn modelId="{A4824D48-1DDB-4069-B956-4AAC15C7DA36}" srcId="{AFCF822E-2DCC-40D3-8FBC-32F1B8852667}" destId="{1E3929B8-3EDA-441B-9F40-2C9928CDDE6B}" srcOrd="0" destOrd="0" parTransId="{F891072C-ECDE-4251-A9E8-A84744730B9B}" sibTransId="{991AC1AB-B166-4401-B5A4-5329622D4169}"/>
    <dgm:cxn modelId="{35F2DC49-17F9-410F-AE1D-D4812EDA105D}" type="presOf" srcId="{AFCF822E-2DCC-40D3-8FBC-32F1B8852667}" destId="{D2724AE2-EB22-46F6-AACA-30DB703321F1}" srcOrd="0" destOrd="0" presId="urn:microsoft.com/office/officeart/2005/8/layout/vList2"/>
    <dgm:cxn modelId="{42AA1285-56CA-4380-956A-2B70B5D113B8}" type="presOf" srcId="{EB0E145B-615C-4744-A4FC-6EA922E2DBA7}" destId="{8C3CF94D-8BA0-414C-BB9F-5029F48F5003}" srcOrd="0" destOrd="0" presId="urn:microsoft.com/office/officeart/2005/8/layout/vList2"/>
    <dgm:cxn modelId="{A0FEF59D-1197-4FC9-8B6B-2FA189BDADFB}" srcId="{EB0E145B-615C-4744-A4FC-6EA922E2DBA7}" destId="{8E33B4AA-1F8B-4040-9E7C-D21736596130}" srcOrd="1" destOrd="0" parTransId="{8238E7B6-FDC0-4BE6-AA8E-98DEFDD3B603}" sibTransId="{55D57AB5-527C-4C31-821A-E36422D9A6C3}"/>
    <dgm:cxn modelId="{EA3069AF-2A58-4199-A14F-E7CBEC83A3E3}" srcId="{EB0E145B-615C-4744-A4FC-6EA922E2DBA7}" destId="{9B5DF1A1-064D-4055-A178-E779027903F0}" srcOrd="0" destOrd="0" parTransId="{0EF9CA68-3F2F-4162-A228-EC633CC31CE8}" sibTransId="{2F84C960-E81E-4685-9441-EF218B652B44}"/>
    <dgm:cxn modelId="{DD26FFB6-13E4-4D51-B5BD-2407F0A349CB}" type="presOf" srcId="{2F94F8AA-E008-4EFE-9AC1-AABB602556E3}" destId="{94739FBE-4350-408D-B1B1-CE7A09FA8D78}" srcOrd="0" destOrd="0" presId="urn:microsoft.com/office/officeart/2005/8/layout/vList2"/>
    <dgm:cxn modelId="{FB8FDBBF-6D69-4134-B85E-486470E75CE9}" type="presOf" srcId="{1E3929B8-3EDA-441B-9F40-2C9928CDDE6B}" destId="{8DE30CD0-05CE-4086-A6CA-E914762407D1}" srcOrd="0" destOrd="0" presId="urn:microsoft.com/office/officeart/2005/8/layout/vList2"/>
    <dgm:cxn modelId="{9F36F1CD-07D9-4C24-AC6E-130CF505ABA8}" srcId="{EB0E145B-615C-4744-A4FC-6EA922E2DBA7}" destId="{6095924E-7841-454C-B8E9-0B64B7D5FBC2}" srcOrd="2" destOrd="0" parTransId="{79CE74E1-6544-450E-9460-8D76BFCFDA50}" sibTransId="{40DA5A8E-7BFA-4853-BD5E-42095C6366C4}"/>
    <dgm:cxn modelId="{A04D35DD-8989-4563-90D5-0797C27CCB36}" type="presOf" srcId="{8E33B4AA-1F8B-4040-9E7C-D21736596130}" destId="{DA589DC8-9E93-408C-9137-E87F453A0FFC}" srcOrd="0" destOrd="1" presId="urn:microsoft.com/office/officeart/2005/8/layout/vList2"/>
    <dgm:cxn modelId="{42CEE2DE-08F7-47D9-9255-C834C3173DC8}" type="presOf" srcId="{9B5DF1A1-064D-4055-A178-E779027903F0}" destId="{DA589DC8-9E93-408C-9137-E87F453A0FFC}" srcOrd="0" destOrd="0" presId="urn:microsoft.com/office/officeart/2005/8/layout/vList2"/>
    <dgm:cxn modelId="{B8D9F1F9-C6D3-4DE0-B876-A27DF74C81CB}" srcId="{2F94F8AA-E008-4EFE-9AC1-AABB602556E3}" destId="{12BBA2F0-B8ED-4411-B54B-22D5899E4028}" srcOrd="0" destOrd="0" parTransId="{205EC97E-D891-4A75-B926-95285A863BD7}" sibTransId="{DB500709-0816-477E-95CC-DB4B4AF48A79}"/>
    <dgm:cxn modelId="{3C712DAC-EA5C-4DF4-B54D-59DD9ABCDA56}" type="presParOf" srcId="{94739FBE-4350-408D-B1B1-CE7A09FA8D78}" destId="{CB3581E3-CBF4-4C37-82D9-EC8AB0BAC01C}" srcOrd="0" destOrd="0" presId="urn:microsoft.com/office/officeart/2005/8/layout/vList2"/>
    <dgm:cxn modelId="{AC7374FE-3F09-40B9-9083-15FFCEF33CAE}" type="presParOf" srcId="{94739FBE-4350-408D-B1B1-CE7A09FA8D78}" destId="{967EC52C-3386-487A-BD08-AE746165D6FA}" srcOrd="1" destOrd="0" presId="urn:microsoft.com/office/officeart/2005/8/layout/vList2"/>
    <dgm:cxn modelId="{DF2BB531-AC32-48AD-8992-B0F38B85A2AA}" type="presParOf" srcId="{94739FBE-4350-408D-B1B1-CE7A09FA8D78}" destId="{D2724AE2-EB22-46F6-AACA-30DB703321F1}" srcOrd="2" destOrd="0" presId="urn:microsoft.com/office/officeart/2005/8/layout/vList2"/>
    <dgm:cxn modelId="{E3FE0E65-3DE5-469A-BDE2-6ACA4086D6FC}" type="presParOf" srcId="{94739FBE-4350-408D-B1B1-CE7A09FA8D78}" destId="{8DE30CD0-05CE-4086-A6CA-E914762407D1}" srcOrd="3" destOrd="0" presId="urn:microsoft.com/office/officeart/2005/8/layout/vList2"/>
    <dgm:cxn modelId="{435AC0B2-2C5F-4AC5-ACC9-EA2D29543FD7}" type="presParOf" srcId="{94739FBE-4350-408D-B1B1-CE7A09FA8D78}" destId="{8C3CF94D-8BA0-414C-BB9F-5029F48F5003}" srcOrd="4" destOrd="0" presId="urn:microsoft.com/office/officeart/2005/8/layout/vList2"/>
    <dgm:cxn modelId="{028B7DBD-E071-4EA6-BD85-72FDF290207A}" type="presParOf" srcId="{94739FBE-4350-408D-B1B1-CE7A09FA8D78}" destId="{DA589DC8-9E93-408C-9137-E87F453A0FF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630648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8332" y="1100554"/>
          <a:ext cx="90203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/>
            <a:t>Introduksjon til opplæring </a:t>
          </a:r>
          <a:r>
            <a:rPr lang="nb-NO" sz="900" kern="1200"/>
            <a:t>og egenlæring for rolle og prosess</a:t>
          </a:r>
        </a:p>
      </dsp:txBody>
      <dsp:txXfrm>
        <a:off x="92365" y="1144587"/>
        <a:ext cx="813964" cy="1379339"/>
      </dsp:txXfrm>
    </dsp:sp>
    <dsp:sp modelId="{6DCCF6FC-0881-4755-8B41-48B9DE698B30}">
      <dsp:nvSpPr>
        <dsp:cNvPr id="0" name=""/>
        <dsp:cNvSpPr/>
      </dsp:nvSpPr>
      <dsp:spPr>
        <a:xfrm>
          <a:off x="1041281" y="1100554"/>
          <a:ext cx="943328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Lokal oppfølging</a:t>
          </a:r>
        </a:p>
      </dsp:txBody>
      <dsp:txXfrm>
        <a:off x="1087330" y="1146603"/>
        <a:ext cx="851230" cy="1375307"/>
      </dsp:txXfrm>
    </dsp:sp>
    <dsp:sp modelId="{2CBB4BEF-1A89-49D3-9B59-B25A5049F2EB}">
      <dsp:nvSpPr>
        <dsp:cNvPr id="0" name=""/>
        <dsp:cNvSpPr/>
      </dsp:nvSpPr>
      <dsp:spPr>
        <a:xfrm>
          <a:off x="2117357" y="1100554"/>
          <a:ext cx="91840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kern="1200"/>
            <a:t>Refleksjon, spørsmål fra egenlæring, økonomi-modell for rolle, nye rutiner og prosesser forberedelse til systemkurs</a:t>
          </a:r>
        </a:p>
      </dsp:txBody>
      <dsp:txXfrm>
        <a:off x="2162190" y="1145387"/>
        <a:ext cx="828740" cy="1377739"/>
      </dsp:txXfrm>
    </dsp:sp>
    <dsp:sp modelId="{80FF13B9-9E37-40F6-9F8E-2F3C6B915A0F}">
      <dsp:nvSpPr>
        <dsp:cNvPr id="0" name=""/>
        <dsp:cNvSpPr/>
      </dsp:nvSpPr>
      <dsp:spPr>
        <a:xfrm>
          <a:off x="3168510" y="1100554"/>
          <a:ext cx="95378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DFØ Systemkurs </a:t>
          </a:r>
          <a:r>
            <a:rPr lang="nb-NO" sz="1000" b="0" kern="1200"/>
            <a:t>for </a:t>
          </a:r>
          <a:r>
            <a:rPr lang="nb-NO" sz="900" b="0" kern="1200"/>
            <a:t>INNKJØPER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Del 1</a:t>
          </a:r>
        </a:p>
      </dsp:txBody>
      <dsp:txXfrm>
        <a:off x="3215070" y="1147114"/>
        <a:ext cx="860666" cy="1374285"/>
      </dsp:txXfrm>
    </dsp:sp>
    <dsp:sp modelId="{62201053-D849-4FCD-B993-571EBFA5243E}">
      <dsp:nvSpPr>
        <dsp:cNvPr id="0" name=""/>
        <dsp:cNvSpPr/>
      </dsp:nvSpPr>
      <dsp:spPr>
        <a:xfrm>
          <a:off x="4255043" y="1100554"/>
          <a:ext cx="990503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4303395" y="1148906"/>
        <a:ext cx="893799" cy="1370701"/>
      </dsp:txXfrm>
    </dsp:sp>
    <dsp:sp modelId="{B18664F0-C6BE-4C15-A7B4-20D1856CF816}">
      <dsp:nvSpPr>
        <dsp:cNvPr id="0" name=""/>
        <dsp:cNvSpPr/>
      </dsp:nvSpPr>
      <dsp:spPr>
        <a:xfrm>
          <a:off x="5378294" y="1100554"/>
          <a:ext cx="98051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3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0" b="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Refleksjon/ spørsmål etter DFØ System-opplæring </a:t>
          </a:r>
        </a:p>
      </dsp:txBody>
      <dsp:txXfrm>
        <a:off x="5426159" y="1148419"/>
        <a:ext cx="884786" cy="1371675"/>
      </dsp:txXfrm>
    </dsp:sp>
    <dsp:sp modelId="{62F2A9AF-22A1-407C-B1ED-D4475DDEF1DC}">
      <dsp:nvSpPr>
        <dsp:cNvPr id="0" name=""/>
        <dsp:cNvSpPr/>
      </dsp:nvSpPr>
      <dsp:spPr>
        <a:xfrm>
          <a:off x="6491557" y="1100554"/>
          <a:ext cx="796481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  <a:r>
            <a:rPr lang="nb-NO" sz="1000" b="1" kern="1200"/>
            <a:t> </a:t>
          </a:r>
          <a:endParaRPr lang="nb-NO" sz="1000" kern="1200"/>
        </a:p>
      </dsp:txBody>
      <dsp:txXfrm>
        <a:off x="6530438" y="1139435"/>
        <a:ext cx="718719" cy="1389643"/>
      </dsp:txXfrm>
    </dsp:sp>
    <dsp:sp modelId="{A5A648B9-87AF-4CEF-B416-A1D97628CFB1}">
      <dsp:nvSpPr>
        <dsp:cNvPr id="0" name=""/>
        <dsp:cNvSpPr/>
      </dsp:nvSpPr>
      <dsp:spPr>
        <a:xfrm>
          <a:off x="7420785" y="1100554"/>
          <a:ext cx="1203363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DFØ system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for </a:t>
          </a:r>
          <a:r>
            <a:rPr lang="nb-NO" sz="900" kern="1200"/>
            <a:t>INNKJØPERE</a:t>
          </a:r>
          <a:endParaRPr lang="nb-NO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Del 2 </a:t>
          </a:r>
        </a:p>
      </dsp:txBody>
      <dsp:txXfrm>
        <a:off x="7479528" y="1159297"/>
        <a:ext cx="1085877" cy="13499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726901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5946" y="1100554"/>
          <a:ext cx="91064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Introduksjon til opplæring </a:t>
          </a:r>
          <a:r>
            <a:rPr lang="nb-NO" sz="1000" kern="1200"/>
            <a:t>og egenlæring for rolle og prosess</a:t>
          </a:r>
        </a:p>
      </dsp:txBody>
      <dsp:txXfrm>
        <a:off x="90400" y="1145008"/>
        <a:ext cx="821734" cy="1378497"/>
      </dsp:txXfrm>
    </dsp:sp>
    <dsp:sp modelId="{6DCCF6FC-0881-4755-8B41-48B9DE698B30}">
      <dsp:nvSpPr>
        <dsp:cNvPr id="0" name=""/>
        <dsp:cNvSpPr/>
      </dsp:nvSpPr>
      <dsp:spPr>
        <a:xfrm>
          <a:off x="1048375" y="1100554"/>
          <a:ext cx="95233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Lokal oppfølging</a:t>
          </a:r>
        </a:p>
      </dsp:txBody>
      <dsp:txXfrm>
        <a:off x="1094864" y="1147043"/>
        <a:ext cx="859356" cy="1374427"/>
      </dsp:txXfrm>
    </dsp:sp>
    <dsp:sp modelId="{2CBB4BEF-1A89-49D3-9B59-B25A5049F2EB}">
      <dsp:nvSpPr>
        <dsp:cNvPr id="0" name=""/>
        <dsp:cNvSpPr/>
      </dsp:nvSpPr>
      <dsp:spPr>
        <a:xfrm>
          <a:off x="2134724" y="1100554"/>
          <a:ext cx="92717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Refleksjon, spørsmål fra egenlæring, økonomimodell for rolle, nye rutiner og prosesser forberedelse til systemkurs</a:t>
          </a:r>
        </a:p>
      </dsp:txBody>
      <dsp:txXfrm>
        <a:off x="2179985" y="1145815"/>
        <a:ext cx="836652" cy="1376883"/>
      </dsp:txXfrm>
    </dsp:sp>
    <dsp:sp modelId="{80FF13B9-9E37-40F6-9F8E-2F3C6B915A0F}">
      <dsp:nvSpPr>
        <dsp:cNvPr id="0" name=""/>
        <dsp:cNvSpPr/>
      </dsp:nvSpPr>
      <dsp:spPr>
        <a:xfrm>
          <a:off x="3195914" y="1100554"/>
          <a:ext cx="96289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DFØ Systemkurs for Fagrekvirent</a:t>
          </a:r>
        </a:p>
      </dsp:txBody>
      <dsp:txXfrm>
        <a:off x="3242919" y="1147559"/>
        <a:ext cx="868882" cy="1373395"/>
      </dsp:txXfrm>
    </dsp:sp>
    <dsp:sp modelId="{62201053-D849-4FCD-B993-571EBFA5243E}">
      <dsp:nvSpPr>
        <dsp:cNvPr id="0" name=""/>
        <dsp:cNvSpPr/>
      </dsp:nvSpPr>
      <dsp:spPr>
        <a:xfrm>
          <a:off x="4292820" y="1100554"/>
          <a:ext cx="99996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4341634" y="1149368"/>
        <a:ext cx="902332" cy="1369777"/>
      </dsp:txXfrm>
    </dsp:sp>
    <dsp:sp modelId="{B18664F0-C6BE-4C15-A7B4-20D1856CF816}">
      <dsp:nvSpPr>
        <dsp:cNvPr id="0" name=""/>
        <dsp:cNvSpPr/>
      </dsp:nvSpPr>
      <dsp:spPr>
        <a:xfrm>
          <a:off x="5426795" y="1100554"/>
          <a:ext cx="989877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3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Refleksjon/ spørsmål etter DFØ System-opplæring </a:t>
          </a:r>
        </a:p>
      </dsp:txBody>
      <dsp:txXfrm>
        <a:off x="5475117" y="1148876"/>
        <a:ext cx="893233" cy="1370761"/>
      </dsp:txXfrm>
    </dsp:sp>
    <dsp:sp modelId="{62F2A9AF-22A1-407C-B1ED-D4475DDEF1DC}">
      <dsp:nvSpPr>
        <dsp:cNvPr id="0" name=""/>
        <dsp:cNvSpPr/>
      </dsp:nvSpPr>
      <dsp:spPr>
        <a:xfrm>
          <a:off x="6550687" y="1100554"/>
          <a:ext cx="1122905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Lokal oppfølging </a:t>
          </a:r>
        </a:p>
      </dsp:txBody>
      <dsp:txXfrm>
        <a:off x="6605503" y="1155370"/>
        <a:ext cx="1013273" cy="1357773"/>
      </dsp:txXfrm>
    </dsp:sp>
    <dsp:sp modelId="{A9803DBB-F235-4AFB-867E-42141B7FCAF3}">
      <dsp:nvSpPr>
        <dsp:cNvPr id="0" name=""/>
        <dsp:cNvSpPr/>
      </dsp:nvSpPr>
      <dsp:spPr>
        <a:xfrm>
          <a:off x="7807607" y="1100554"/>
          <a:ext cx="91558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DFØ Systemkurs for Fagrekvirent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(samme som før jul)</a:t>
          </a:r>
        </a:p>
      </dsp:txBody>
      <dsp:txXfrm>
        <a:off x="7852302" y="1145249"/>
        <a:ext cx="826190" cy="13780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F1DB65-7714-4C55-8A72-4F0BEDFFC536}">
      <dsp:nvSpPr>
        <dsp:cNvPr id="0" name=""/>
        <dsp:cNvSpPr/>
      </dsp:nvSpPr>
      <dsp:spPr>
        <a:xfrm>
          <a:off x="0" y="341636"/>
          <a:ext cx="4830755" cy="1937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920" tIns="312420" rIns="37492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NTNU Kurs for </a:t>
          </a:r>
          <a:r>
            <a:rPr lang="nb-NO" sz="1500" kern="1200" err="1"/>
            <a:t>Btb</a:t>
          </a:r>
          <a:r>
            <a:rPr lang="nb-NO" sz="1500" kern="1200"/>
            <a:t>-prosessen</a:t>
          </a:r>
          <a:r>
            <a:rPr lang="nb-NO" sz="1500" kern="1200" baseline="30000"/>
            <a:t>*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genlæring</a:t>
          </a:r>
          <a:r>
            <a:rPr lang="nb-NO" sz="1500" kern="1200" baseline="30000"/>
            <a:t>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1: Innkjøpsforespørsel - trykkekur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 2:  Inngående faktura - trykkekur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tablere kompetansenettverk for rollen</a:t>
          </a:r>
        </a:p>
      </dsp:txBody>
      <dsp:txXfrm>
        <a:off x="0" y="341636"/>
        <a:ext cx="4830755" cy="1937250"/>
      </dsp:txXfrm>
    </dsp:sp>
    <dsp:sp modelId="{42A653AE-9379-483F-9C0D-FB422368ECBA}">
      <dsp:nvSpPr>
        <dsp:cNvPr id="0" name=""/>
        <dsp:cNvSpPr/>
      </dsp:nvSpPr>
      <dsp:spPr>
        <a:xfrm>
          <a:off x="234472" y="51128"/>
          <a:ext cx="338152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814" tIns="0" rIns="127814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Innkjøpere</a:t>
          </a:r>
        </a:p>
      </dsp:txBody>
      <dsp:txXfrm>
        <a:off x="256088" y="72744"/>
        <a:ext cx="3338296" cy="399568"/>
      </dsp:txXfrm>
    </dsp:sp>
    <dsp:sp modelId="{18E9B6D3-DA2A-4BD4-8281-94CCC9CDF175}">
      <dsp:nvSpPr>
        <dsp:cNvPr id="0" name=""/>
        <dsp:cNvSpPr/>
      </dsp:nvSpPr>
      <dsp:spPr>
        <a:xfrm>
          <a:off x="0" y="2526202"/>
          <a:ext cx="4830755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920" tIns="312420" rIns="37492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NTNU Kurs for </a:t>
          </a:r>
          <a:r>
            <a:rPr lang="nb-NO" sz="1500" kern="1200" err="1"/>
            <a:t>Btb</a:t>
          </a:r>
          <a:r>
            <a:rPr lang="nb-NO" sz="1500" kern="1200"/>
            <a:t>-prosessen</a:t>
          </a:r>
          <a:r>
            <a:rPr lang="nb-NO" sz="1500" kern="1200" baseline="30000"/>
            <a:t>*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genlæring</a:t>
          </a:r>
          <a:r>
            <a:rPr lang="nb-NO" sz="1500" kern="1200" baseline="30000"/>
            <a:t>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 – Innkjøpsforespørsel for fagrekvirenter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Lokal oppfølging og opplæring</a:t>
          </a:r>
        </a:p>
      </dsp:txBody>
      <dsp:txXfrm>
        <a:off x="0" y="2526202"/>
        <a:ext cx="4830755" cy="1512000"/>
      </dsp:txXfrm>
    </dsp:sp>
    <dsp:sp modelId="{6042C111-C4EF-48DB-9B82-B75F03DF710E}">
      <dsp:nvSpPr>
        <dsp:cNvPr id="0" name=""/>
        <dsp:cNvSpPr/>
      </dsp:nvSpPr>
      <dsp:spPr>
        <a:xfrm>
          <a:off x="241537" y="2304802"/>
          <a:ext cx="338152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814" tIns="0" rIns="127814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Fagrekvirenter</a:t>
          </a:r>
        </a:p>
      </dsp:txBody>
      <dsp:txXfrm>
        <a:off x="263153" y="2326418"/>
        <a:ext cx="3338296" cy="39956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581E3-CBF4-4C37-82D9-EC8AB0BAC01C}">
      <dsp:nvSpPr>
        <dsp:cNvPr id="0" name=""/>
        <dsp:cNvSpPr/>
      </dsp:nvSpPr>
      <dsp:spPr>
        <a:xfrm>
          <a:off x="0" y="15465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nnkjøpere – </a:t>
          </a:r>
          <a:r>
            <a:rPr lang="nb-NO" sz="1400" b="1" kern="1200"/>
            <a:t>fysiske</a:t>
          </a:r>
          <a:r>
            <a:rPr lang="nb-NO" sz="1400" kern="1200"/>
            <a:t> kurs i Trondheim (3 alternative datoer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Fagrekvirent – Digitalt kurs (3 alternative datoer) </a:t>
          </a:r>
        </a:p>
      </dsp:txBody>
      <dsp:txXfrm>
        <a:off x="35640" y="51105"/>
        <a:ext cx="7446284" cy="658800"/>
      </dsp:txXfrm>
    </dsp:sp>
    <dsp:sp modelId="{D2724AE2-EB22-46F6-AACA-30DB703321F1}">
      <dsp:nvSpPr>
        <dsp:cNvPr id="0" name=""/>
        <dsp:cNvSpPr/>
      </dsp:nvSpPr>
      <dsp:spPr>
        <a:xfrm>
          <a:off x="0" y="857866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sendes ut </a:t>
          </a:r>
          <a:r>
            <a:rPr lang="nb-NO" sz="1400" b="1" kern="1200"/>
            <a:t>kalenderinnkalling i Outlook </a:t>
          </a:r>
          <a:r>
            <a:rPr lang="nb-NO" sz="1400" kern="1200"/>
            <a:t>til alle kurs</a:t>
          </a:r>
        </a:p>
      </dsp:txBody>
      <dsp:txXfrm>
        <a:off x="35640" y="893506"/>
        <a:ext cx="7446284" cy="658800"/>
      </dsp:txXfrm>
    </dsp:sp>
    <dsp:sp modelId="{8DE30CD0-05CE-4086-A6CA-E914762407D1}">
      <dsp:nvSpPr>
        <dsp:cNvPr id="0" name=""/>
        <dsp:cNvSpPr/>
      </dsp:nvSpPr>
      <dsp:spPr>
        <a:xfrm>
          <a:off x="0" y="1587946"/>
          <a:ext cx="7517564" cy="645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u får innkalling i forhold til den rollen du skal ha</a:t>
          </a:r>
        </a:p>
      </dsp:txBody>
      <dsp:txXfrm>
        <a:off x="0" y="1587946"/>
        <a:ext cx="7517564" cy="645840"/>
      </dsp:txXfrm>
    </dsp:sp>
    <dsp:sp modelId="{8C3CF94D-8BA0-414C-BB9F-5029F48F5003}">
      <dsp:nvSpPr>
        <dsp:cNvPr id="0" name=""/>
        <dsp:cNvSpPr/>
      </dsp:nvSpPr>
      <dsp:spPr>
        <a:xfrm>
          <a:off x="0" y="2233786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Kurs arrangert av DFØ har påmelding</a:t>
          </a:r>
        </a:p>
      </dsp:txBody>
      <dsp:txXfrm>
        <a:off x="35640" y="2269426"/>
        <a:ext cx="7446284" cy="658800"/>
      </dsp:txXfrm>
    </dsp:sp>
    <dsp:sp modelId="{DA589DC8-9E93-408C-9137-E87F453A0FFC}">
      <dsp:nvSpPr>
        <dsp:cNvPr id="0" name=""/>
        <dsp:cNvSpPr/>
      </dsp:nvSpPr>
      <dsp:spPr>
        <a:xfrm>
          <a:off x="0" y="2963866"/>
          <a:ext cx="7517564" cy="686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vil være påmeldingslenke i kalenderinvitasjonen der det er aktuel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er viktig å huske å melde seg på kurset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Noen dager før kursstart vil alle som har meldt seg på kurset få påloggingslenke</a:t>
          </a:r>
          <a:endParaRPr lang="en-US" sz="1400" kern="1200"/>
        </a:p>
      </dsp:txBody>
      <dsp:txXfrm>
        <a:off x="0" y="2963866"/>
        <a:ext cx="7517564" cy="686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0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67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52885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0533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9253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2711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697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81494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0775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85379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8151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6144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706790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2035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40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77254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0858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6178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2622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5175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72998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19788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0552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302069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528777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001395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077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1384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5241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761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42582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7559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2745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65061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7322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325069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939187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50938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3602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525176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884437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69080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3292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2716944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03607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75069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88715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121531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51726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1524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0977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111704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88944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34439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67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527540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4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28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40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i.ntnu.no/documents/portlet_file_entry/1305837853/Veiledning+p%C3%A5logging+Canvas.pdf/1152f416-d177-1c08-dbe5-e703b96eb1c6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pplaering-bott-ol@ntnu.no" TargetMode="External"/><Relationship Id="rId4" Type="http://schemas.openxmlformats.org/officeDocument/2006/relationships/hyperlink" Target="https://i.ntnu.no/wiki/-/wiki/Norsk/Bott+%C3%B8konomi+og+l%C3%B8nn+-+Oppl%C3%A6ring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opplaering-bott-ol@ntnu.no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okonomi/opplering/index.html" TargetMode="External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47.png"/><Relationship Id="rId11" Type="http://schemas.openxmlformats.org/officeDocument/2006/relationships/hyperlink" Target="mailto:opplaering-bott-ol@ntnu.no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i.ntnu.no/wiki/-/wiki/Norsk/Bott+%C3%B8konomi+og+l%C3%B8nn+-+Oppl%C3%A6ring" TargetMode="External"/><Relationship Id="rId4" Type="http://schemas.openxmlformats.org/officeDocument/2006/relationships/oleObject" Target="../embeddings/oleObject21.bin"/><Relationship Id="rId9" Type="http://schemas.openxmlformats.org/officeDocument/2006/relationships/hyperlink" Target="https://i.ntnu.no/wiki/-/wiki/Norsk/BOTT+%C3%98konomi+og+l%C3%B8nn+innf%C3%B8ringsprosjekt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jpeg"/><Relationship Id="rId18" Type="http://schemas.openxmlformats.org/officeDocument/2006/relationships/image" Target="../media/image60.jpeg"/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49.jpeg"/><Relationship Id="rId12" Type="http://schemas.openxmlformats.org/officeDocument/2006/relationships/image" Target="../media/image54.jpeg"/><Relationship Id="rId17" Type="http://schemas.openxmlformats.org/officeDocument/2006/relationships/image" Target="../media/image59.jpeg"/><Relationship Id="rId2" Type="http://schemas.openxmlformats.org/officeDocument/2006/relationships/tags" Target="../tags/tag32.xml"/><Relationship Id="rId16" Type="http://schemas.openxmlformats.org/officeDocument/2006/relationships/image" Target="../media/image58.jpeg"/><Relationship Id="rId20" Type="http://schemas.openxmlformats.org/officeDocument/2006/relationships/image" Target="../media/image62.png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11" Type="http://schemas.openxmlformats.org/officeDocument/2006/relationships/image" Target="../media/image53.jpe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57.jpeg"/><Relationship Id="rId10" Type="http://schemas.openxmlformats.org/officeDocument/2006/relationships/image" Target="../media/image52.jpeg"/><Relationship Id="rId19" Type="http://schemas.openxmlformats.org/officeDocument/2006/relationships/image" Target="../media/image61.jpe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51.jpeg"/><Relationship Id="rId14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6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4.png"/><Relationship Id="rId1" Type="http://schemas.openxmlformats.org/officeDocument/2006/relationships/tags" Target="../tags/tag20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universityofbergen.sharepoint.com/:b:/s/KvalitetsrammeverkokonomioglonnBOTT/EfJm3f_mke5IgMLT2GYb36YBrguE600FLnxZ5l0MsNOLag?e=dc1bd1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universityofbergen.sharepoint.com/:b:/s/KvalitetsrammeverkokonomioglonnBOTT/EZVPXhOvDoNDnqYgyL7wUzMB8_umymqL03UK25jeJXTwhA?e=oNi3I4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74201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1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9506" y="2373370"/>
            <a:ext cx="8114088" cy="1323439"/>
          </a:xfrm>
        </p:spPr>
        <p:txBody>
          <a:bodyPr vert="horz"/>
          <a:lstStyle/>
          <a:p>
            <a:r>
              <a:rPr lang="nb-NO" sz="4000">
                <a:solidFill>
                  <a:schemeClr val="bg1"/>
                </a:solidFill>
              </a:rPr>
              <a:t>Behov til betaling – </a:t>
            </a:r>
            <a:br>
              <a:rPr lang="nb-NO" sz="4000">
                <a:solidFill>
                  <a:schemeClr val="bg1"/>
                </a:solidFill>
              </a:rPr>
            </a:br>
            <a:r>
              <a:rPr lang="nb-NO" sz="4000">
                <a:solidFill>
                  <a:schemeClr val="bg1"/>
                </a:solidFill>
              </a:rPr>
              <a:t>Informasjonsmøte om opplær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84434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0. septem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26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Roll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1F9E16-97D0-41E7-83A9-EC194EC4E7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60"/>
          <a:stretch/>
        </p:blipFill>
        <p:spPr>
          <a:xfrm>
            <a:off x="326573" y="1004935"/>
            <a:ext cx="7609861" cy="3658615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D63C3275-C6A2-4C0D-AB9B-96C8E4868464}"/>
              </a:ext>
            </a:extLst>
          </p:cNvPr>
          <p:cNvSpPr/>
          <p:nvPr/>
        </p:nvSpPr>
        <p:spPr>
          <a:xfrm>
            <a:off x="376928" y="1004935"/>
            <a:ext cx="2310431" cy="3133630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C9CE4A2-F443-4F24-BB3A-21A8DF45435A}"/>
              </a:ext>
            </a:extLst>
          </p:cNvPr>
          <p:cNvSpPr/>
          <p:nvPr/>
        </p:nvSpPr>
        <p:spPr>
          <a:xfrm>
            <a:off x="2737714" y="1619395"/>
            <a:ext cx="2310431" cy="656135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49C61C3-2D17-413E-B0D7-EC98ED9FBB14}"/>
              </a:ext>
            </a:extLst>
          </p:cNvPr>
          <p:cNvSpPr/>
          <p:nvPr/>
        </p:nvSpPr>
        <p:spPr>
          <a:xfrm>
            <a:off x="2737714" y="3335350"/>
            <a:ext cx="2310431" cy="656135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grevirent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å sørge for opprettelse av innkjøpsforespørsler av varer og tjenester innenfor sitt fagområde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arbeide med Anskaffelsesrådgiver for behov lik/over 100.000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de avvik på avtaler innenfor sitt fagområ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anbefales at fagrekvirent er en faglig ressurs som kjenner den enkelte arbeidsgruppes (f.eks. forskningsgruppe) virksomhet og behov, samt skal kunne dekke flere enheter innenfor ett fag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Fagrekvirent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ærskilt kunnskap på sitt definerte fagområde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avtaleportefølje innenfor sitt område og de varer og tjenester som disse avtalene omfatter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e opprette innkjøpsforespørsel i UNIT4 ERP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 i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lement for økonomistyring i staten 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275D363B-E2AF-4D13-8AA0-88E3597FD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016" y="1869349"/>
            <a:ext cx="1383594" cy="14689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</p:spTree>
    <p:extLst>
      <p:ext uri="{BB962C8B-B14F-4D97-AF65-F5344CB8AC3E}">
        <p14:creationId xmlns:p14="http://schemas.microsoft.com/office/powerpoint/2010/main" val="3094439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sørge for innkjøp av varer og tjenester til bruk i universitets virksomhet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Opprette og vedlikeholder innkjøpsplaner (plankjøp)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Behandle inngående faktura og kreditnota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Det anbefales at innkjøpsforespørsler og inngående faktura er innkjøpers førsteprioritet. Innkjøper bør videre utøve sin rolle 50- 100 %. 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Innkjøper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taler og de varer og tjenester som disse avtalene omfat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opprette og behandle innkjøpsforespørsel i innkjøps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attestere inngående faktura og kreditnota i faktura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v og forskrift om offentlige anskaffelser (LOA og FOA) og Reglement for økonomistyring i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organiser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økonomimodell, herunder konteringsdimensjonen Mva.-behandling, Anleggsregistrering, Periodisering</a:t>
            </a:r>
          </a:p>
          <a:p>
            <a:pPr marL="128588" lvl="0" indent="-128588" defTabSz="685800">
              <a:buFont typeface="Arial" panose="020B0604020202020204" pitchFamily="34" charset="0"/>
              <a:buChar char="•"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</a:t>
            </a:r>
            <a:r>
              <a:rPr lang="nb-NO" sz="600">
                <a:solidFill>
                  <a:srgbClr val="000000"/>
                </a:solidFill>
              </a:rPr>
              <a:t>til innsending</a:t>
            </a:r>
          </a:p>
          <a:p>
            <a:pPr marL="128588" lvl="0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600">
                <a:solidFill>
                  <a:srgbClr val="000000"/>
                </a:solidFill>
              </a:rPr>
              <a:t>Utbetalinger der det ikke foreligger inngående faktura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til innsending av elektronisk faktura og merking av inngående faktura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A2C03-CC7C-4A41-BE48-42E4CB6DE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752" y="1915113"/>
            <a:ext cx="1306134" cy="138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50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400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Samhandling mellom roll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1FC7A2-4747-4E7B-8B61-B8F1E4100C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805" r="539" b="1270"/>
          <a:stretch/>
        </p:blipFill>
        <p:spPr>
          <a:xfrm>
            <a:off x="537471" y="1019101"/>
            <a:ext cx="7727029" cy="362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83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35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1200329"/>
          </a:xfrm>
        </p:spPr>
        <p:txBody>
          <a:bodyPr vert="horz"/>
          <a:lstStyle/>
          <a:p>
            <a:r>
              <a:rPr lang="nb-NO" sz="2400" err="1"/>
              <a:t>Hovedendringer</a:t>
            </a:r>
            <a:r>
              <a:rPr lang="nb-NO" sz="2400"/>
              <a:t> fra dagens prosesser, roller og systemer </a:t>
            </a:r>
            <a:br>
              <a:rPr lang="nb-NO" sz="2400"/>
            </a:br>
            <a:endParaRPr lang="nb-NO" sz="2400"/>
          </a:p>
        </p:txBody>
      </p:sp>
      <p:sp>
        <p:nvSpPr>
          <p:cNvPr id="8" name="Rektangel 24">
            <a:extLst>
              <a:ext uri="{FF2B5EF4-FFF2-40B4-BE49-F238E27FC236}">
                <a16:creationId xmlns:a16="http://schemas.microsoft.com/office/drawing/2014/main" id="{86B5E94D-3D1C-4589-9FD3-1EDB8064897E}"/>
              </a:ext>
            </a:extLst>
          </p:cNvPr>
          <p:cNvSpPr/>
          <p:nvPr/>
        </p:nvSpPr>
        <p:spPr>
          <a:xfrm>
            <a:off x="453120" y="2189080"/>
            <a:ext cx="1187725" cy="834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ktangel 7">
            <a:extLst>
              <a:ext uri="{FF2B5EF4-FFF2-40B4-BE49-F238E27FC236}">
                <a16:creationId xmlns:a16="http://schemas.microsoft.com/office/drawing/2014/main" id="{B117E852-7A32-45E0-B410-2CEDCA5645FC}"/>
              </a:ext>
            </a:extLst>
          </p:cNvPr>
          <p:cNvSpPr/>
          <p:nvPr/>
        </p:nvSpPr>
        <p:spPr>
          <a:xfrm>
            <a:off x="1733286" y="2189079"/>
            <a:ext cx="6448690" cy="8342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b="1" kern="0" dirty="0">
                <a:solidFill>
                  <a:srgbClr val="000000"/>
                </a:solidFill>
                <a:latin typeface="Arial"/>
                <a:sym typeface="Arial"/>
              </a:rPr>
              <a:t>Innkjøpergrupp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- </a:t>
            </a:r>
            <a:r>
              <a:rPr lang="nb-NO" sz="1200" b="1" kern="0" dirty="0">
                <a:solidFill>
                  <a:srgbClr val="000000"/>
                </a:solidFill>
                <a:latin typeface="Arial"/>
                <a:sym typeface="Arial"/>
              </a:rPr>
              <a:t>Felles, standardiserte prosesser og rutiner som støtter systemet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- Mye tilgjengelig materiale – krever tid til opplæring </a:t>
            </a: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Rektangel 7">
            <a:extLst>
              <a:ext uri="{FF2B5EF4-FFF2-40B4-BE49-F238E27FC236}">
                <a16:creationId xmlns:a16="http://schemas.microsoft.com/office/drawing/2014/main" id="{68FED559-C21C-4381-B33E-3ED00A8EC95F}"/>
              </a:ext>
            </a:extLst>
          </p:cNvPr>
          <p:cNvSpPr/>
          <p:nvPr/>
        </p:nvSpPr>
        <p:spPr>
          <a:xfrm>
            <a:off x="1733286" y="3158017"/>
            <a:ext cx="6448690" cy="1159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nb-NO" sz="1100" b="1" kern="0">
                <a:solidFill>
                  <a:srgbClr val="000000"/>
                </a:solidFill>
                <a:latin typeface="Arial"/>
                <a:sym typeface="Arial"/>
              </a:rPr>
              <a:t>Ett, heldigitalt system: </a:t>
            </a:r>
            <a:b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</a:b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-   Økt funksjonalitet på en rekke områder (plankjøp, tilknytning til avtale, periodisk faktura,         leveringsadresser, 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varemottaker</a:t>
            </a: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, periodisering, 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hovedbokstekst</a:t>
            </a:r>
            <a:endParaRPr lang="nb-NO" sz="1100" kern="0">
              <a:solidFill>
                <a:srgbClr val="000000"/>
              </a:solidFill>
              <a:latin typeface="Arial"/>
              <a:sym typeface="Arial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Flere felter å forholde seg til og mer klikking mellom vinduer som kan oppleves mer komplisert enn i dag 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Endret </a:t>
            </a:r>
            <a:r>
              <a:rPr kumimoji="0" lang="nb-NO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atchelogi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kk</a:t>
            </a: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 fra sum til linjematch: God og korrekt  input helt avgjørende for god output</a:t>
            </a: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67723FF5-266B-4677-A733-5EC77493D08A}"/>
              </a:ext>
            </a:extLst>
          </p:cNvPr>
          <p:cNvSpPr/>
          <p:nvPr/>
        </p:nvSpPr>
        <p:spPr>
          <a:xfrm>
            <a:off x="453121" y="3158018"/>
            <a:ext cx="1187725" cy="11595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724441" y="1227367"/>
            <a:ext cx="6448690" cy="833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b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Økt profesjonalisering av roll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 - Mengdetrening viktig for å være god i systeme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-  Både innkjøper og fagrekvirent  må ha et mer bevisst forhold til bruk av </a:t>
            </a:r>
            <a:r>
              <a:rPr kumimoji="0" lang="nb-NO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va</a:t>
            </a: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-koder</a:t>
            </a:r>
          </a:p>
        </p:txBody>
      </p:sp>
      <p:sp>
        <p:nvSpPr>
          <p:cNvPr id="6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53120" y="1226150"/>
            <a:ext cx="1187725" cy="834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1" name="Group 828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1327169"/>
            <a:ext cx="637594" cy="635723"/>
            <a:chOff x="5042" y="3019"/>
            <a:chExt cx="341" cy="340"/>
          </a:xfrm>
          <a:solidFill>
            <a:schemeClr val="accent2"/>
          </a:solidFill>
        </p:grpSpPr>
        <p:sp>
          <p:nvSpPr>
            <p:cNvPr id="42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7" name="Group 299">
            <a:extLst>
              <a:ext uri="{FF2B5EF4-FFF2-40B4-BE49-F238E27FC236}">
                <a16:creationId xmlns:a16="http://schemas.microsoft.com/office/drawing/2014/main" id="{0E77ACF6-CFDA-4685-8B93-CDED278E73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0153" y="3433570"/>
            <a:ext cx="637966" cy="636086"/>
            <a:chOff x="1166" y="1121"/>
            <a:chExt cx="341" cy="340"/>
          </a:xfrm>
          <a:solidFill>
            <a:schemeClr val="accent2"/>
          </a:solidFill>
        </p:grpSpPr>
        <p:sp>
          <p:nvSpPr>
            <p:cNvPr id="48" name="Freeform 300">
              <a:extLst>
                <a:ext uri="{FF2B5EF4-FFF2-40B4-BE49-F238E27FC236}">
                  <a16:creationId xmlns:a16="http://schemas.microsoft.com/office/drawing/2014/main" id="{8674D191-DB93-4C97-B678-4DF473900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301">
              <a:extLst>
                <a:ext uri="{FF2B5EF4-FFF2-40B4-BE49-F238E27FC236}">
                  <a16:creationId xmlns:a16="http://schemas.microsoft.com/office/drawing/2014/main" id="{AED8F945-75A3-48DA-A68F-C6AB02975C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3" name="Group 862">
            <a:extLst>
              <a:ext uri="{FF2B5EF4-FFF2-40B4-BE49-F238E27FC236}">
                <a16:creationId xmlns:a16="http://schemas.microsoft.com/office/drawing/2014/main" id="{5C51FA30-BD18-4429-93C1-28EDF3EC6F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2290619"/>
            <a:ext cx="635340" cy="637200"/>
            <a:chOff x="6607" y="3441"/>
            <a:chExt cx="340" cy="341"/>
          </a:xfrm>
          <a:solidFill>
            <a:srgbClr val="00509E"/>
          </a:solidFill>
        </p:grpSpPr>
        <p:sp>
          <p:nvSpPr>
            <p:cNvPr id="24" name="Freeform 863">
              <a:extLst>
                <a:ext uri="{FF2B5EF4-FFF2-40B4-BE49-F238E27FC236}">
                  <a16:creationId xmlns:a16="http://schemas.microsoft.com/office/drawing/2014/main" id="{9D28CD38-95CE-429B-B21D-6431930E17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5" name="Freeform 864">
              <a:extLst>
                <a:ext uri="{FF2B5EF4-FFF2-40B4-BE49-F238E27FC236}">
                  <a16:creationId xmlns:a16="http://schemas.microsoft.com/office/drawing/2014/main" id="{2BEC872F-1EF6-42EC-AA21-FE0E5AD12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2254379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6345607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Opplæring for roller i </a:t>
                      </a:r>
                      <a:r>
                        <a:rPr lang="nb-NO" sz="1600" i="1" err="1">
                          <a:solidFill>
                            <a:schemeClr val="bg1"/>
                          </a:solidFill>
                        </a:rPr>
                        <a:t>BtB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prosesse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16630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532395"/>
              </p:ext>
            </p:extLst>
          </p:nvPr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67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99" y="46755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 sz="2800" b="0">
                <a:hlinkClick r:id="rId3"/>
              </a:rPr>
              <a:t>BOTT ØL - Opplæringsside</a:t>
            </a:r>
            <a:endParaRPr lang="nb-NO" sz="2800" b="0"/>
          </a:p>
        </p:txBody>
      </p:sp>
      <p:pic>
        <p:nvPicPr>
          <p:cNvPr id="5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D149C881-023E-369F-8A6C-49B97A7483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427" y="693086"/>
            <a:ext cx="3152633" cy="4274758"/>
          </a:xfrm>
          <a:prstGeom prst="rect">
            <a:avLst/>
          </a:prstGeom>
          <a:noFill/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47CF52F8-251B-CB9F-CA30-D7241F41E5B1}"/>
              </a:ext>
            </a:extLst>
          </p:cNvPr>
          <p:cNvSpPr/>
          <p:nvPr/>
        </p:nvSpPr>
        <p:spPr>
          <a:xfrm>
            <a:off x="2429303" y="4509554"/>
            <a:ext cx="1082722" cy="349049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4677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Innkjøper</a:t>
            </a:r>
            <a:endParaRPr lang="nb-NO" sz="200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8D6EB9D5-E603-278B-77B8-1B1544D4F4BE}"/>
              </a:ext>
            </a:extLst>
          </p:cNvPr>
          <p:cNvSpPr/>
          <p:nvPr/>
        </p:nvSpPr>
        <p:spPr>
          <a:xfrm>
            <a:off x="513347" y="4005314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FB0B55-EE0D-0644-6C51-808A42448D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7138141"/>
              </p:ext>
            </p:extLst>
          </p:nvPr>
        </p:nvGraphicFramePr>
        <p:xfrm>
          <a:off x="513347" y="734250"/>
          <a:ext cx="8630653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6F2B9CD-CF68-3CB3-61E1-AB48A6BEB969}"/>
              </a:ext>
            </a:extLst>
          </p:cNvPr>
          <p:cNvSpPr txBox="1"/>
          <p:nvPr/>
        </p:nvSpPr>
        <p:spPr>
          <a:xfrm>
            <a:off x="659561" y="4385799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0.09.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E60D34-29F7-D350-3413-63CB2F8A27D2}"/>
              </a:ext>
            </a:extLst>
          </p:cNvPr>
          <p:cNvSpPr txBox="1"/>
          <p:nvPr/>
        </p:nvSpPr>
        <p:spPr>
          <a:xfrm>
            <a:off x="6865081" y="4402764"/>
            <a:ext cx="941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.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8BF459-2339-A1AD-3B24-52885684970C}"/>
              </a:ext>
            </a:extLst>
          </p:cNvPr>
          <p:cNvSpPr txBox="1"/>
          <p:nvPr/>
        </p:nvSpPr>
        <p:spPr>
          <a:xfrm>
            <a:off x="2828604" y="4385799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5.12.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A97F54-1CFF-7FFB-12DA-7C89AC4DD432}"/>
              </a:ext>
            </a:extLst>
          </p:cNvPr>
          <p:cNvSpPr txBox="1"/>
          <p:nvPr/>
        </p:nvSpPr>
        <p:spPr>
          <a:xfrm>
            <a:off x="3659361" y="4385799"/>
            <a:ext cx="11855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2./13. eller 14.1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2EEABD-38C6-DAD1-EC0A-4D96023C8BF8}"/>
              </a:ext>
            </a:extLst>
          </p:cNvPr>
          <p:cNvSpPr txBox="1"/>
          <p:nvPr/>
        </p:nvSpPr>
        <p:spPr>
          <a:xfrm>
            <a:off x="6305695" y="4402764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9.1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094690-36E9-25D3-2AA9-CC6321AE28D4}"/>
              </a:ext>
            </a:extLst>
          </p:cNvPr>
          <p:cNvSpPr txBox="1"/>
          <p:nvPr/>
        </p:nvSpPr>
        <p:spPr>
          <a:xfrm>
            <a:off x="7958482" y="4402764"/>
            <a:ext cx="11855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0./11. eller 12.01</a:t>
            </a:r>
          </a:p>
        </p:txBody>
      </p:sp>
    </p:spTree>
    <p:extLst>
      <p:ext uri="{BB962C8B-B14F-4D97-AF65-F5344CB8AC3E}">
        <p14:creationId xmlns:p14="http://schemas.microsoft.com/office/powerpoint/2010/main" val="2196551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Fagrekvirent</a:t>
            </a:r>
            <a:endParaRPr lang="nb-NO" sz="2000"/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07829BB3-94E6-2B8A-B60A-3DF60D0EB3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3271459"/>
              </p:ext>
            </p:extLst>
          </p:nvPr>
        </p:nvGraphicFramePr>
        <p:xfrm>
          <a:off x="513347" y="734250"/>
          <a:ext cx="8726906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Arrow: Right 3">
            <a:extLst>
              <a:ext uri="{FF2B5EF4-FFF2-40B4-BE49-F238E27FC236}">
                <a16:creationId xmlns:a16="http://schemas.microsoft.com/office/drawing/2014/main" id="{D68219E8-F1D2-62DC-A78C-93723344A352}"/>
              </a:ext>
            </a:extLst>
          </p:cNvPr>
          <p:cNvSpPr/>
          <p:nvPr/>
        </p:nvSpPr>
        <p:spPr>
          <a:xfrm>
            <a:off x="513347" y="3909062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4C01F6-E3C1-1422-0B17-B4CB64C73681}"/>
              </a:ext>
            </a:extLst>
          </p:cNvPr>
          <p:cNvSpPr txBox="1"/>
          <p:nvPr/>
        </p:nvSpPr>
        <p:spPr>
          <a:xfrm>
            <a:off x="659561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0.09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F14319-2490-69A7-0557-98A22DC208F1}"/>
              </a:ext>
            </a:extLst>
          </p:cNvPr>
          <p:cNvSpPr txBox="1"/>
          <p:nvPr/>
        </p:nvSpPr>
        <p:spPr>
          <a:xfrm>
            <a:off x="2850497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1.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6C2F4-FA48-8AA1-8663-7EEBCB8A0E27}"/>
              </a:ext>
            </a:extLst>
          </p:cNvPr>
          <p:cNvSpPr txBox="1"/>
          <p:nvPr/>
        </p:nvSpPr>
        <p:spPr>
          <a:xfrm>
            <a:off x="3547718" y="4287851"/>
            <a:ext cx="1043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1. eller 02.12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5C64EF-5CC2-3221-0E4B-D47119A75FAD}"/>
              </a:ext>
            </a:extLst>
          </p:cNvPr>
          <p:cNvSpPr txBox="1"/>
          <p:nvPr/>
        </p:nvSpPr>
        <p:spPr>
          <a:xfrm>
            <a:off x="6122305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5.1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40D7C3-37A2-1A5E-E82C-4A6A17C56673}"/>
              </a:ext>
            </a:extLst>
          </p:cNvPr>
          <p:cNvSpPr txBox="1"/>
          <p:nvPr/>
        </p:nvSpPr>
        <p:spPr>
          <a:xfrm>
            <a:off x="8313241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9.01</a:t>
            </a:r>
          </a:p>
        </p:txBody>
      </p:sp>
    </p:spTree>
    <p:extLst>
      <p:ext uri="{BB962C8B-B14F-4D97-AF65-F5344CB8AC3E}">
        <p14:creationId xmlns:p14="http://schemas.microsoft.com/office/powerpoint/2010/main" val="143719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A3414EF-1B14-DA8B-9A08-10F1C3B0B87C}"/>
              </a:ext>
            </a:extLst>
          </p:cNvPr>
          <p:cNvSpPr/>
          <p:nvPr/>
        </p:nvSpPr>
        <p:spPr>
          <a:xfrm>
            <a:off x="5117123" y="568569"/>
            <a:ext cx="3083959" cy="44293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/>
              <a:t>Kurs for roller i </a:t>
            </a:r>
            <a:r>
              <a:rPr lang="nb-NO" sz="1200" b="1" err="1"/>
              <a:t>Btb</a:t>
            </a:r>
            <a:r>
              <a:rPr lang="nb-NO" sz="1200" b="1"/>
              <a:t>-prosessen</a:t>
            </a:r>
          </a:p>
          <a:p>
            <a:pPr algn="ctr"/>
            <a:endParaRPr lang="nb-NO" sz="1050"/>
          </a:p>
          <a:p>
            <a:pPr algn="ctr"/>
            <a:r>
              <a:rPr lang="nb-NO" sz="1200" baseline="30000"/>
              <a:t>*)</a:t>
            </a:r>
            <a:r>
              <a:rPr lang="nb-NO" sz="1200" b="1"/>
              <a:t>Egenlæring</a:t>
            </a:r>
            <a:endParaRPr lang="nb-NO" sz="1050" b="1"/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BOTT e-læring for rolle og prosess</a:t>
            </a:r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NTNU videokurs Økonomimodell</a:t>
            </a:r>
          </a:p>
          <a:p>
            <a:pPr algn="ctr"/>
            <a:endParaRPr lang="nb-NO" sz="1050"/>
          </a:p>
          <a:p>
            <a:pPr algn="ctr"/>
            <a:r>
              <a:rPr lang="nb-NO" sz="1200" baseline="30000"/>
              <a:t>**)</a:t>
            </a:r>
            <a:r>
              <a:rPr lang="nb-NO" sz="1200" b="1"/>
              <a:t>NTNU kurs for </a:t>
            </a:r>
            <a:r>
              <a:rPr lang="nb-NO" sz="1200" b="1" err="1"/>
              <a:t>Btb</a:t>
            </a:r>
            <a:r>
              <a:rPr lang="nb-NO" sz="1200" b="1"/>
              <a:t>-prosessen:</a:t>
            </a:r>
          </a:p>
          <a:p>
            <a:pPr algn="ctr"/>
            <a:r>
              <a:rPr lang="nb-NO" sz="1050"/>
              <a:t>1: Introduksjon til opplæring</a:t>
            </a:r>
          </a:p>
          <a:p>
            <a:pPr algn="ctr"/>
            <a:r>
              <a:rPr lang="nb-NO" sz="1050"/>
              <a:t>2: Oppsummering, refleksjon, spørsmål fra egenlæring</a:t>
            </a:r>
          </a:p>
          <a:p>
            <a:pPr algn="ctr"/>
            <a:r>
              <a:rPr lang="nb-NO" sz="1050"/>
              <a:t>- Økonomimodell for rolle</a:t>
            </a:r>
          </a:p>
          <a:p>
            <a:pPr marL="214313" indent="-214313" algn="ctr">
              <a:buFontTx/>
              <a:buChar char="-"/>
            </a:pPr>
            <a:r>
              <a:rPr lang="nb-NO" sz="1050"/>
              <a:t>Nye roller, rutiner og prosesser </a:t>
            </a:r>
          </a:p>
          <a:p>
            <a:pPr algn="ctr"/>
            <a:r>
              <a:rPr lang="nb-NO" sz="1050"/>
              <a:t>3: Oppsummering, refleksjon, spørsmål etter systemopplæring</a:t>
            </a:r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8775A646-9F22-D53C-FE0E-404176220C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5176906"/>
              </p:ext>
            </p:extLst>
          </p:nvPr>
        </p:nvGraphicFramePr>
        <p:xfrm>
          <a:off x="116383" y="683510"/>
          <a:ext cx="4830755" cy="41033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827B44-EAD5-86A5-96D3-E7F3AAA31942}"/>
              </a:ext>
            </a:extLst>
          </p:cNvPr>
          <p:cNvSpPr txBox="1">
            <a:spLocks/>
          </p:cNvSpPr>
          <p:nvPr/>
        </p:nvSpPr>
        <p:spPr>
          <a:xfrm>
            <a:off x="0" y="55463"/>
            <a:ext cx="8418747" cy="4616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Opplæringsløp for roller i </a:t>
            </a:r>
            <a:r>
              <a:rPr lang="nb-NO" sz="2400" b="0" err="1">
                <a:solidFill>
                  <a:schemeClr val="accent2">
                    <a:lumMod val="50000"/>
                  </a:schemeClr>
                </a:solidFill>
              </a:rPr>
              <a:t>Btb</a:t>
            </a:r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-prosessen </a:t>
            </a:r>
            <a:r>
              <a:rPr lang="nb-NO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294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F200B6-E4C4-84D0-1693-5D34E6F46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2746557"/>
              </p:ext>
            </p:extLst>
          </p:nvPr>
        </p:nvGraphicFramePr>
        <p:xfrm>
          <a:off x="327025" y="1016920"/>
          <a:ext cx="7517564" cy="3665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1283971-F112-537C-BB94-B9A7B281D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25" y="206375"/>
            <a:ext cx="8382000" cy="646113"/>
          </a:xfrm>
        </p:spPr>
        <p:txBody>
          <a:bodyPr anchor="t">
            <a:normAutofit/>
          </a:bodyPr>
          <a:lstStyle/>
          <a:p>
            <a:r>
              <a:rPr lang="nb-NO" b="0"/>
              <a:t>Praktisk</a:t>
            </a:r>
            <a:r>
              <a:rPr lang="nb-NO"/>
              <a:t> </a:t>
            </a:r>
            <a:r>
              <a:rPr lang="nb-NO" b="0"/>
              <a:t>informasjon</a:t>
            </a:r>
          </a:p>
        </p:txBody>
      </p:sp>
    </p:spTree>
    <p:extLst>
      <p:ext uri="{BB962C8B-B14F-4D97-AF65-F5344CB8AC3E}">
        <p14:creationId xmlns:p14="http://schemas.microsoft.com/office/powerpoint/2010/main" val="1322707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BOTT</a:t>
            </a:r>
            <a:r>
              <a:rPr lang="en-US" sz="2400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ØL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for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rolle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og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prosess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4391310" y="1894506"/>
            <a:ext cx="4173487" cy="28187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nb-NO" sz="1600">
                <a:latin typeface="Arial"/>
                <a:cs typeface="Arial"/>
              </a:rPr>
              <a:t>Du tar kurset som gjelder din rolle: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Fagrekvirent – estimert tid </a:t>
            </a:r>
            <a:r>
              <a:rPr lang="nb-NO" sz="1600" u="sng">
                <a:latin typeface="Arial"/>
                <a:cs typeface="Arial"/>
              </a:rPr>
              <a:t>2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Innkjøper – estimert </a:t>
            </a:r>
            <a:r>
              <a:rPr lang="nb-NO" sz="1600" u="sng">
                <a:latin typeface="Arial"/>
                <a:cs typeface="Arial"/>
              </a:rPr>
              <a:t>tid 3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  <p:pic>
        <p:nvPicPr>
          <p:cNvPr id="4" name="Picture Placeholder 5" descr="3.1 Behov til betaling - BOTT">
            <a:extLst>
              <a:ext uri="{FF2B5EF4-FFF2-40B4-BE49-F238E27FC236}">
                <a16:creationId xmlns:a16="http://schemas.microsoft.com/office/drawing/2014/main" id="{4D7C197F-73C9-556A-5B08-EF74979093A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09315" y="1028699"/>
            <a:ext cx="3873859" cy="381050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F80CF0C-FFC1-8636-2119-BD5ABCE0A9BC}"/>
              </a:ext>
            </a:extLst>
          </p:cNvPr>
          <p:cNvSpPr/>
          <p:nvPr/>
        </p:nvSpPr>
        <p:spPr>
          <a:xfrm>
            <a:off x="1161933" y="4198358"/>
            <a:ext cx="2632145" cy="778526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219E0A-E2E6-DD43-2193-5A35F0666EFC}"/>
              </a:ext>
            </a:extLst>
          </p:cNvPr>
          <p:cNvSpPr txBox="1"/>
          <p:nvPr/>
        </p:nvSpPr>
        <p:spPr>
          <a:xfrm>
            <a:off x="4391310" y="1208536"/>
            <a:ext cx="2544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4"/>
              </a:rPr>
              <a:t>Veiledning til pålogg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088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16A1725-8576-303B-767C-EB61E2D82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59" y="85281"/>
            <a:ext cx="8229600" cy="646331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Gjennomføre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BOTT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7" name="Picture Placeholder 5" descr="Fagrekvirent - behov til betaling">
            <a:extLst>
              <a:ext uri="{FF2B5EF4-FFF2-40B4-BE49-F238E27FC236}">
                <a16:creationId xmlns:a16="http://schemas.microsoft.com/office/drawing/2014/main" id="{AC899FC9-27AB-507F-483B-312FDF471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138893"/>
            <a:ext cx="3216262" cy="3394472"/>
          </a:xfrm>
          <a:prstGeom prst="rect">
            <a:avLst/>
          </a:prstGeom>
          <a:noFill/>
        </p:spPr>
      </p:pic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9426DCB7-6C3F-9D04-85A4-803A1E10CD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2004013"/>
            <a:ext cx="4038600" cy="2590609"/>
          </a:xfrm>
        </p:spPr>
        <p:txBody>
          <a:bodyPr/>
          <a:lstStyle/>
          <a:p>
            <a:r>
              <a:rPr lang="en-US" sz="2000" err="1"/>
              <a:t>Kursene</a:t>
            </a:r>
            <a:r>
              <a:rPr lang="en-US" sz="2000"/>
              <a:t> ligger </a:t>
            </a:r>
            <a:r>
              <a:rPr lang="en-US" sz="2000" err="1"/>
              <a:t>på</a:t>
            </a:r>
            <a:r>
              <a:rPr lang="en-US" sz="2000"/>
              <a:t> </a:t>
            </a:r>
            <a:r>
              <a:rPr lang="en-US" sz="2000" err="1"/>
              <a:t>læringsplattformen</a:t>
            </a:r>
            <a:r>
              <a:rPr lang="en-US" sz="2000"/>
              <a:t> Canvas hos </a:t>
            </a:r>
            <a:r>
              <a:rPr lang="en-US" sz="2000" err="1"/>
              <a:t>UiB</a:t>
            </a:r>
            <a:endParaRPr lang="en-US" sz="2000"/>
          </a:p>
          <a:p>
            <a:endParaRPr lang="en-US" sz="2000"/>
          </a:p>
          <a:p>
            <a:r>
              <a:rPr lang="en-US" sz="2000"/>
              <a:t>Du logger </a:t>
            </a:r>
            <a:r>
              <a:rPr lang="en-US" sz="2000" err="1"/>
              <a:t>på</a:t>
            </a:r>
            <a:r>
              <a:rPr lang="en-US" sz="2000"/>
              <a:t> med din NTNU </a:t>
            </a:r>
            <a:r>
              <a:rPr lang="en-US" sz="2000" err="1"/>
              <a:t>Feide-bruker</a:t>
            </a:r>
            <a:endParaRPr lang="en-US" sz="2000"/>
          </a:p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810C80-CFA0-ACD3-999E-A3174696A3F4}"/>
              </a:ext>
            </a:extLst>
          </p:cNvPr>
          <p:cNvSpPr/>
          <p:nvPr/>
        </p:nvSpPr>
        <p:spPr>
          <a:xfrm>
            <a:off x="1007483" y="1123494"/>
            <a:ext cx="1308632" cy="317576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38641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7AD156-1516-5FB0-E122-0434FAFDF22A}"/>
              </a:ext>
            </a:extLst>
          </p:cNvPr>
          <p:cNvSpPr txBox="1"/>
          <p:nvPr/>
        </p:nvSpPr>
        <p:spPr>
          <a:xfrm>
            <a:off x="131380" y="285193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b-NO" sz="1700" b="1" i="0" kern="1200">
                <a:latin typeface="Arial"/>
                <a:ea typeface="+mj-ea"/>
                <a:cs typeface="Arial"/>
              </a:rPr>
              <a:t>DFØ Systemopplæring: 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b-NO" sz="1700" b="1" i="0" kern="1200">
                <a:latin typeface="Arial"/>
                <a:ea typeface="+mj-ea"/>
                <a:cs typeface="Arial"/>
              </a:rPr>
              <a:t>Påmeldingslenke til DFØ-kurs ligger i kalenderinvitasjon</a:t>
            </a:r>
          </a:p>
        </p:txBody>
      </p:sp>
      <p:pic>
        <p:nvPicPr>
          <p:cNvPr id="6" name="Picture Placeholder 5" descr="Digdir &amp; DFØ - BOTT NTNU BtB i Unit4 ERP- Innkjøpsforespørsel -fagrekvirent 02.12.2022">
            <a:extLst>
              <a:ext uri="{FF2B5EF4-FFF2-40B4-BE49-F238E27FC236}">
                <a16:creationId xmlns:a16="http://schemas.microsoft.com/office/drawing/2014/main" id="{E1E8DFB3-9741-CE13-4E94-310B885F87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513" y="1384146"/>
            <a:ext cx="3742287" cy="3686356"/>
          </a:xfrm>
          <a:prstGeom prst="rect">
            <a:avLst/>
          </a:prstGeom>
          <a:noFill/>
        </p:spPr>
      </p:pic>
      <p:pic>
        <p:nvPicPr>
          <p:cNvPr id="12" name="Picture Placeholder 5" descr="Digdir &amp; DFØ - BOTT NTNU BtB i Unit4 ERP- Innkjøpsforespørsel -fagrekvirent 02.12.2022">
            <a:extLst>
              <a:ext uri="{FF2B5EF4-FFF2-40B4-BE49-F238E27FC236}">
                <a16:creationId xmlns:a16="http://schemas.microsoft.com/office/drawing/2014/main" id="{A7E40D30-0C64-CAF2-A43D-FDBE6F79EB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3326" y="1384146"/>
            <a:ext cx="4499531" cy="2827830"/>
          </a:xfrm>
          <a:prstGeom prst="rect">
            <a:avLst/>
          </a:prstGeom>
        </p:spPr>
      </p:pic>
      <p:pic>
        <p:nvPicPr>
          <p:cNvPr id="13" name="Picture Placeholder 5" descr="DFØ-Felles opplæringsplan BOTT-NTNU.xlsx">
            <a:extLst>
              <a:ext uri="{FF2B5EF4-FFF2-40B4-BE49-F238E27FC236}">
                <a16:creationId xmlns:a16="http://schemas.microsoft.com/office/drawing/2014/main" id="{E5B0CA50-9B32-43D2-79FD-D7A9ED9BC3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6772" y="1034019"/>
            <a:ext cx="4572638" cy="266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1182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3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4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5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DACA-D9DD-215B-555F-3511BAD28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m opplæring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2A335D-041A-E56B-3AD3-F1C3AF854E98}"/>
              </a:ext>
            </a:extLst>
          </p:cNvPr>
          <p:cNvSpPr txBox="1"/>
          <p:nvPr/>
        </p:nvSpPr>
        <p:spPr>
          <a:xfrm>
            <a:off x="326573" y="1818871"/>
            <a:ext cx="78824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/>
              <a:t>Spørsmål om opplæring sendes til: </a:t>
            </a:r>
            <a:r>
              <a:rPr lang="nb-NO" sz="24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3"/>
              </a:rPr>
              <a:t>opplaering-bott-ol@ntnu.no</a:t>
            </a:r>
            <a:r>
              <a:rPr lang="nb-NO" sz="18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1988197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564323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55413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hlinkClick r:id="rId8"/>
              </a:rPr>
              <a:t>BOTT-samarbeidet.no </a:t>
            </a:r>
            <a:r>
              <a:rPr lang="nb-NO" sz="1400"/>
              <a:t>– Alt tilgjengelig materiale utarbeidet av BOTT. Inkluderer prosesskart, rutinebeskrivelse, rollebeskrivelser, lenker til e-læringskurs og brukerskjemaer </a:t>
            </a:r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innføringsprosjekt </a:t>
            </a:r>
            <a:r>
              <a:rPr lang="nb-NO" sz="1400"/>
              <a:t>– Siste nytt, generell informasjon om prosjektet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10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Spørsmål om opplæring sendes til: </a:t>
            </a:r>
            <a:r>
              <a:rPr lang="nb-NO" sz="18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11"/>
              </a:rPr>
              <a:t>opplaering-bott-ol@ntnu.no</a:t>
            </a:r>
            <a:r>
              <a:rPr lang="nb-NO" sz="14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taktpersoner </a:t>
            </a:r>
            <a:r>
              <a:rPr lang="nb-NO" err="1"/>
              <a:t>btb</a:t>
            </a:r>
            <a:r>
              <a:rPr lang="nb-NO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4585883" y="1076122"/>
            <a:ext cx="1318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et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326573" y="1072390"/>
            <a:ext cx="2160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2217716"/>
            <a:ext cx="2688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e:   </a:t>
            </a:r>
          </a:p>
        </p:txBody>
      </p:sp>
      <p:pic>
        <p:nvPicPr>
          <p:cNvPr id="10242" name="Picture 2" descr="profileimage">
            <a:extLst>
              <a:ext uri="{FF2B5EF4-FFF2-40B4-BE49-F238E27FC236}">
                <a16:creationId xmlns:a16="http://schemas.microsoft.com/office/drawing/2014/main" id="{D40C4EF8-CF72-4BD4-A932-DEDD39F6D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212" y="137133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3065138" y="1332216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Overvik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5258407" y="137896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y-Lene Johansen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85" y="139323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7402766" y="1361167"/>
            <a:ext cx="1270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istina Horvei (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oitte</a:t>
            </a: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essurs P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48" name="Picture 8" descr="profileimage">
            <a:extLst>
              <a:ext uri="{FF2B5EF4-FFF2-40B4-BE49-F238E27FC236}">
                <a16:creationId xmlns:a16="http://schemas.microsoft.com/office/drawing/2014/main" id="{C93419C7-EA02-4870-BF98-14C4F991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96EFC2A-38BE-4E7C-A558-F5F18D5A8A2C}"/>
              </a:ext>
            </a:extLst>
          </p:cNvPr>
          <p:cNvSpPr txBox="1"/>
          <p:nvPr/>
        </p:nvSpPr>
        <p:spPr>
          <a:xfrm>
            <a:off x="3090836" y="2513157"/>
            <a:ext cx="16808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nche Wilhelmsen Finseth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1744C0-F0DC-441B-BC79-B87E74D5D221}"/>
              </a:ext>
            </a:extLst>
          </p:cNvPr>
          <p:cNvSpPr txBox="1"/>
          <p:nvPr/>
        </p:nvSpPr>
        <p:spPr>
          <a:xfrm>
            <a:off x="7487836" y="244274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ianne Storset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pic>
        <p:nvPicPr>
          <p:cNvPr id="10250" name="Picture 10" descr="profileimage">
            <a:extLst>
              <a:ext uri="{FF2B5EF4-FFF2-40B4-BE49-F238E27FC236}">
                <a16:creationId xmlns:a16="http://schemas.microsoft.com/office/drawing/2014/main" id="{09AAC7DC-D167-474C-8656-BAA3A1450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41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73B5C00-B533-47B1-9A3F-3C016CFF4803}"/>
              </a:ext>
            </a:extLst>
          </p:cNvPr>
          <p:cNvSpPr txBox="1"/>
          <p:nvPr/>
        </p:nvSpPr>
        <p:spPr>
          <a:xfrm>
            <a:off x="1019948" y="2527810"/>
            <a:ext cx="1466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Brevik Ant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Felles adm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C3425A-DD74-4EB1-9978-72B808175916}"/>
              </a:ext>
            </a:extLst>
          </p:cNvPr>
          <p:cNvSpPr txBox="1"/>
          <p:nvPr/>
        </p:nvSpPr>
        <p:spPr>
          <a:xfrm>
            <a:off x="5352820" y="2513157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i Leikvold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ØK</a:t>
            </a:r>
          </a:p>
        </p:txBody>
      </p:sp>
      <p:pic>
        <p:nvPicPr>
          <p:cNvPr id="10252" name="Picture 12" descr="profileimage">
            <a:extLst>
              <a:ext uri="{FF2B5EF4-FFF2-40B4-BE49-F238E27FC236}">
                <a16:creationId xmlns:a16="http://schemas.microsoft.com/office/drawing/2014/main" id="{8A16C6DA-003A-40DE-9D0B-FF396ED94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4082422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A993E49-D03F-4B0D-AD25-2240CF25C60A}"/>
              </a:ext>
            </a:extLst>
          </p:cNvPr>
          <p:cNvSpPr txBox="1"/>
          <p:nvPr/>
        </p:nvSpPr>
        <p:spPr>
          <a:xfrm>
            <a:off x="7702826" y="412692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a Gull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VM</a:t>
            </a:r>
          </a:p>
        </p:txBody>
      </p:sp>
      <p:pic>
        <p:nvPicPr>
          <p:cNvPr id="10254" name="Picture 14" descr="profileimage">
            <a:extLst>
              <a:ext uri="{FF2B5EF4-FFF2-40B4-BE49-F238E27FC236}">
                <a16:creationId xmlns:a16="http://schemas.microsoft.com/office/drawing/2014/main" id="{2BBD268E-29E7-4107-9289-9D9F5B666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7" y="3321338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C54433A-3E46-4EA5-A04A-C6D2BD078269}"/>
              </a:ext>
            </a:extLst>
          </p:cNvPr>
          <p:cNvSpPr txBox="1"/>
          <p:nvPr/>
        </p:nvSpPr>
        <p:spPr>
          <a:xfrm>
            <a:off x="5310477" y="327673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cilie Heimda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HF</a:t>
            </a:r>
          </a:p>
        </p:txBody>
      </p:sp>
      <p:pic>
        <p:nvPicPr>
          <p:cNvPr id="10256" name="Picture 16" descr="profileimage">
            <a:extLst>
              <a:ext uri="{FF2B5EF4-FFF2-40B4-BE49-F238E27FC236}">
                <a16:creationId xmlns:a16="http://schemas.microsoft.com/office/drawing/2014/main" id="{25B79EF7-4FD9-4AC1-A0B4-1D06A8206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756" y="409262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FEC821B-6892-41AC-9CFE-951B094BBDEC}"/>
              </a:ext>
            </a:extLst>
          </p:cNvPr>
          <p:cNvSpPr txBox="1"/>
          <p:nvPr/>
        </p:nvSpPr>
        <p:spPr>
          <a:xfrm>
            <a:off x="5378327" y="4053468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-Grethe Ni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NV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15A4E5-EAFD-4F36-8216-4284E9096B25}"/>
              </a:ext>
            </a:extLst>
          </p:cNvPr>
          <p:cNvSpPr txBox="1"/>
          <p:nvPr/>
        </p:nvSpPr>
        <p:spPr>
          <a:xfrm>
            <a:off x="3142424" y="4053468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a</a:t>
            </a: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zdudna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AD</a:t>
            </a:r>
          </a:p>
        </p:txBody>
      </p:sp>
      <p:pic>
        <p:nvPicPr>
          <p:cNvPr id="10258" name="Picture 18" descr="profileimage">
            <a:extLst>
              <a:ext uri="{FF2B5EF4-FFF2-40B4-BE49-F238E27FC236}">
                <a16:creationId xmlns:a16="http://schemas.microsoft.com/office/drawing/2014/main" id="{48E64775-A9B7-4087-923C-B22A9CDE1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4092594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0" name="Picture 20" descr="profileimage">
            <a:extLst>
              <a:ext uri="{FF2B5EF4-FFF2-40B4-BE49-F238E27FC236}">
                <a16:creationId xmlns:a16="http://schemas.microsoft.com/office/drawing/2014/main" id="{0EF70D19-F4ED-4524-A8AD-AEFAFD6F9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8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E4E4DEBF-BC79-4108-B28F-86CF32A8E368}"/>
              </a:ext>
            </a:extLst>
          </p:cNvPr>
          <p:cNvSpPr txBox="1"/>
          <p:nvPr/>
        </p:nvSpPr>
        <p:spPr>
          <a:xfrm>
            <a:off x="988838" y="1337822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en Ellingsberg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3C604E-77A8-46D0-AF24-EA0FA6B04909}"/>
              </a:ext>
            </a:extLst>
          </p:cNvPr>
          <p:cNvSpPr txBox="1"/>
          <p:nvPr/>
        </p:nvSpPr>
        <p:spPr>
          <a:xfrm>
            <a:off x="3075221" y="3287568"/>
            <a:ext cx="1742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lje Storsu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0262" name="Picture 22" descr="profileimage">
            <a:extLst>
              <a:ext uri="{FF2B5EF4-FFF2-40B4-BE49-F238E27FC236}">
                <a16:creationId xmlns:a16="http://schemas.microsoft.com/office/drawing/2014/main" id="{66292979-2FD5-42C3-A040-CCCEB802A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7" y="1381786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B982FB-B70D-46F5-BC46-9B5CCF5779E2}"/>
              </a:ext>
            </a:extLst>
          </p:cNvPr>
          <p:cNvSpPr txBox="1"/>
          <p:nvPr/>
        </p:nvSpPr>
        <p:spPr>
          <a:xfrm>
            <a:off x="1009223" y="412692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se Vibeke Bels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  <p:pic>
        <p:nvPicPr>
          <p:cNvPr id="10264" name="Picture 24" descr="profileimage">
            <a:extLst>
              <a:ext uri="{FF2B5EF4-FFF2-40B4-BE49-F238E27FC236}">
                <a16:creationId xmlns:a16="http://schemas.microsoft.com/office/drawing/2014/main" id="{B3FBB334-78F1-4C1C-9A8C-7D57517C2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329204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CFC784-016A-4F73-8486-F8E30E02B145}"/>
              </a:ext>
            </a:extLst>
          </p:cNvPr>
          <p:cNvSpPr txBox="1"/>
          <p:nvPr/>
        </p:nvSpPr>
        <p:spPr>
          <a:xfrm>
            <a:off x="7487836" y="3252914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d Marit Lervik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S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ungerende)</a:t>
            </a:r>
          </a:p>
        </p:txBody>
      </p:sp>
      <p:pic>
        <p:nvPicPr>
          <p:cNvPr id="10266" name="Picture 26" descr="profileimage">
            <a:extLst>
              <a:ext uri="{FF2B5EF4-FFF2-40B4-BE49-F238E27FC236}">
                <a16:creationId xmlns:a16="http://schemas.microsoft.com/office/drawing/2014/main" id="{B9073208-E508-4B4B-A54C-EE2F786B4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3293467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8A24DC-D8C1-4806-A264-29F759864BD0}"/>
              </a:ext>
            </a:extLst>
          </p:cNvPr>
          <p:cNvSpPr/>
          <p:nvPr/>
        </p:nvSpPr>
        <p:spPr>
          <a:xfrm>
            <a:off x="412838" y="4181061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55BD314-E573-4FE8-BFFE-F580DB83C9CB}"/>
              </a:ext>
            </a:extLst>
          </p:cNvPr>
          <p:cNvSpPr/>
          <p:nvPr/>
        </p:nvSpPr>
        <p:spPr>
          <a:xfrm>
            <a:off x="6862533" y="2480288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9"/>
          <a:srcRect/>
          <a:stretch/>
        </p:blipFill>
        <p:spPr>
          <a:xfrm>
            <a:off x="6791379" y="1386605"/>
            <a:ext cx="576000" cy="5760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4B883FB-F23F-B092-80EE-DE5325E882C1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3"/>
          <a:stretch/>
        </p:blipFill>
        <p:spPr>
          <a:xfrm>
            <a:off x="412838" y="3328959"/>
            <a:ext cx="576000" cy="643559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A44F5EB-15DE-C133-1AB1-52E37BA3012C}"/>
              </a:ext>
            </a:extLst>
          </p:cNvPr>
          <p:cNvSpPr txBox="1"/>
          <p:nvPr/>
        </p:nvSpPr>
        <p:spPr>
          <a:xfrm>
            <a:off x="1042312" y="3384757"/>
            <a:ext cx="1288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na Sundl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MH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581283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274623"/>
              </p:ext>
            </p:extLst>
          </p:nvPr>
        </p:nvGraphicFramePr>
        <p:xfrm>
          <a:off x="409650" y="994346"/>
          <a:ext cx="7700726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1716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Gå til menti.com</a:t>
            </a:r>
          </a:p>
          <a:p>
            <a:endParaRPr lang="nb-NO" sz="3200"/>
          </a:p>
          <a:p>
            <a:r>
              <a:rPr lang="nb-NO" sz="3200"/>
              <a:t>Kode: 36150114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807F6-AA24-04E0-FF05-1EF7F4860D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696"/>
            <a:ext cx="9144000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899909-58CD-0475-EEA6-EACE6BC5D404}"/>
              </a:ext>
            </a:extLst>
          </p:cNvPr>
          <p:cNvSpPr txBox="1"/>
          <p:nvPr/>
        </p:nvSpPr>
        <p:spPr>
          <a:xfrm>
            <a:off x="1637211" y="1254034"/>
            <a:ext cx="676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 b="1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</a:t>
            </a:r>
            <a:r>
              <a:rPr lang="nb-NO" sz="2400">
                <a:latin typeface="Arial" panose="020B0604020202020204"/>
              </a:rPr>
              <a:t>opplæringsløp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for din rolle og gi en introduksjon til </a:t>
            </a:r>
            <a:r>
              <a:rPr lang="nb-NO" sz="2400" b="1" i="1">
                <a:solidFill>
                  <a:srgbClr val="000000"/>
                </a:solidFill>
                <a:latin typeface="Arial" panose="020B0604020202020204"/>
              </a:rPr>
              <a:t>Behov til betalings-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prosessen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-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9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0"/>
            <a:ext cx="1890522" cy="1321394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p14="http://schemas.microsoft.com/office/powerpoint/2010/main" xmlns:mc="http://schemas.openxmlformats.org/markup-compatibility/2006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53955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18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0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0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288398" y="25578"/>
            <a:ext cx="8418747" cy="1110177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a fører BOTT ØL med seg?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227708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troduksjon til Btb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Hovedflyt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Hovedendringer fra slik mange kjenner prosessen i dag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532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70F9FB-5F20-441C-8897-867FBE816D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97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70F9FB-5F20-441C-8897-867FBE816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378539-3F38-4D32-842A-D187FA5FB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707886"/>
          </a:xfrm>
        </p:spPr>
        <p:txBody>
          <a:bodyPr vert="horz"/>
          <a:lstStyle/>
          <a:p>
            <a:r>
              <a:rPr lang="nb-NO" sz="2000"/>
              <a:t>Intro til </a:t>
            </a:r>
            <a:r>
              <a:rPr lang="nb-NO" sz="2000" err="1"/>
              <a:t>btb</a:t>
            </a:r>
            <a:r>
              <a:rPr lang="nb-NO" sz="2000"/>
              <a:t>-prosessen: Prosessflyt - Opprettelse av innkjøpeforespørsel og varemotta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52D9ED-9F28-492E-86D7-7E4CE6F54C73}"/>
              </a:ext>
            </a:extLst>
          </p:cNvPr>
          <p:cNvGrpSpPr/>
          <p:nvPr/>
        </p:nvGrpSpPr>
        <p:grpSpPr>
          <a:xfrm>
            <a:off x="5877357" y="1877158"/>
            <a:ext cx="1080259" cy="1140599"/>
            <a:chOff x="3467100" y="1822704"/>
            <a:chExt cx="1417447" cy="1481455"/>
          </a:xfrm>
        </p:grpSpPr>
        <p:sp>
          <p:nvSpPr>
            <p:cNvPr id="93" name="object 17">
              <a:extLst>
                <a:ext uri="{FF2B5EF4-FFF2-40B4-BE49-F238E27FC236}">
                  <a16:creationId xmlns:a16="http://schemas.microsoft.com/office/drawing/2014/main" id="{4606D1BC-8B67-402C-808E-F84CC1E8C88F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object 18">
              <a:extLst>
                <a:ext uri="{FF2B5EF4-FFF2-40B4-BE49-F238E27FC236}">
                  <a16:creationId xmlns:a16="http://schemas.microsoft.com/office/drawing/2014/main" id="{39D84A9D-EAEA-4340-A3C3-C21E208CFB7E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object 19">
              <a:extLst>
                <a:ext uri="{FF2B5EF4-FFF2-40B4-BE49-F238E27FC236}">
                  <a16:creationId xmlns:a16="http://schemas.microsoft.com/office/drawing/2014/main" id="{FA93E059-D73A-4DEB-A86E-EA5CEE7502D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6" name="object 40">
              <a:extLst>
                <a:ext uri="{FF2B5EF4-FFF2-40B4-BE49-F238E27FC236}">
                  <a16:creationId xmlns:a16="http://schemas.microsoft.com/office/drawing/2014/main" id="{5EB1EC92-DA5C-4D25-88D9-1F3DC9603D1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7" name="object 41">
              <a:extLst>
                <a:ext uri="{FF2B5EF4-FFF2-40B4-BE49-F238E27FC236}">
                  <a16:creationId xmlns:a16="http://schemas.microsoft.com/office/drawing/2014/main" id="{D7771BC4-39B1-414E-BCE4-0E3A278BAF32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5F98BD0-9C70-423F-B7F0-EA3AF60AE0F8}"/>
              </a:ext>
            </a:extLst>
          </p:cNvPr>
          <p:cNvGrpSpPr/>
          <p:nvPr/>
        </p:nvGrpSpPr>
        <p:grpSpPr>
          <a:xfrm>
            <a:off x="4195066" y="1830912"/>
            <a:ext cx="1104822" cy="1136861"/>
            <a:chOff x="3467100" y="1822704"/>
            <a:chExt cx="1417447" cy="1481455"/>
          </a:xfrm>
        </p:grpSpPr>
        <p:sp>
          <p:nvSpPr>
            <p:cNvPr id="88" name="object 17">
              <a:extLst>
                <a:ext uri="{FF2B5EF4-FFF2-40B4-BE49-F238E27FC236}">
                  <a16:creationId xmlns:a16="http://schemas.microsoft.com/office/drawing/2014/main" id="{B5D444B5-A855-405E-8E10-00316D89544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object 18">
              <a:extLst>
                <a:ext uri="{FF2B5EF4-FFF2-40B4-BE49-F238E27FC236}">
                  <a16:creationId xmlns:a16="http://schemas.microsoft.com/office/drawing/2014/main" id="{5EC512BE-67A6-44A1-BDE2-56287FBEC9DA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object 19">
              <a:extLst>
                <a:ext uri="{FF2B5EF4-FFF2-40B4-BE49-F238E27FC236}">
                  <a16:creationId xmlns:a16="http://schemas.microsoft.com/office/drawing/2014/main" id="{F1DB4467-5B6C-44DD-B234-B0BE9E82E6DA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object 40">
              <a:extLst>
                <a:ext uri="{FF2B5EF4-FFF2-40B4-BE49-F238E27FC236}">
                  <a16:creationId xmlns:a16="http://schemas.microsoft.com/office/drawing/2014/main" id="{4DBBCE1E-3C11-4823-888B-2A2A37A63886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object 41">
              <a:extLst>
                <a:ext uri="{FF2B5EF4-FFF2-40B4-BE49-F238E27FC236}">
                  <a16:creationId xmlns:a16="http://schemas.microsoft.com/office/drawing/2014/main" id="{6712B16C-ED46-44C3-8FE1-72CC07AE343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3" name="object 65">
            <a:extLst>
              <a:ext uri="{FF2B5EF4-FFF2-40B4-BE49-F238E27FC236}">
                <a16:creationId xmlns:a16="http://schemas.microsoft.com/office/drawing/2014/main" id="{9B3E1D7F-F412-4008-9545-AE870ABE068F}"/>
              </a:ext>
            </a:extLst>
          </p:cNvPr>
          <p:cNvSpPr/>
          <p:nvPr/>
        </p:nvSpPr>
        <p:spPr>
          <a:xfrm rot="941282">
            <a:off x="3919150" y="1707655"/>
            <a:ext cx="747242" cy="1888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object 65">
            <a:extLst>
              <a:ext uri="{FF2B5EF4-FFF2-40B4-BE49-F238E27FC236}">
                <a16:creationId xmlns:a16="http://schemas.microsoft.com/office/drawing/2014/main" id="{2A989A70-F8B5-4775-8014-353E99E7A438}"/>
              </a:ext>
            </a:extLst>
          </p:cNvPr>
          <p:cNvSpPr/>
          <p:nvPr/>
        </p:nvSpPr>
        <p:spPr>
          <a:xfrm rot="17973879">
            <a:off x="5311807" y="2892615"/>
            <a:ext cx="682975" cy="13438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AF030378-83F5-4491-B023-BE93771547B9}"/>
              </a:ext>
            </a:extLst>
          </p:cNvPr>
          <p:cNvSpPr txBox="1"/>
          <p:nvPr/>
        </p:nvSpPr>
        <p:spPr>
          <a:xfrm>
            <a:off x="1833273" y="4320712"/>
            <a:ext cx="1697443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ovsinnmeldin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pprett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I Unit4 ERP</a:t>
            </a:r>
          </a:p>
        </p:txBody>
      </p:sp>
      <p:sp>
        <p:nvSpPr>
          <p:cNvPr id="16" name="object 52">
            <a:extLst>
              <a:ext uri="{FF2B5EF4-FFF2-40B4-BE49-F238E27FC236}">
                <a16:creationId xmlns:a16="http://schemas.microsoft.com/office/drawing/2014/main" id="{B2EEC503-D87C-42A2-B0CC-0E156A6BC24E}"/>
              </a:ext>
            </a:extLst>
          </p:cNvPr>
          <p:cNvSpPr txBox="1"/>
          <p:nvPr/>
        </p:nvSpPr>
        <p:spPr>
          <a:xfrm>
            <a:off x="3907532" y="3239142"/>
            <a:ext cx="782447" cy="2477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D6C092-4EB0-4390-A68A-DFDB24F244AC}"/>
              </a:ext>
            </a:extLst>
          </p:cNvPr>
          <p:cNvGrpSpPr/>
          <p:nvPr/>
        </p:nvGrpSpPr>
        <p:grpSpPr>
          <a:xfrm>
            <a:off x="4609495" y="2275619"/>
            <a:ext cx="389898" cy="468510"/>
            <a:chOff x="6267547" y="1891446"/>
            <a:chExt cx="692727" cy="768296"/>
          </a:xfrm>
        </p:grpSpPr>
        <p:sp>
          <p:nvSpPr>
            <p:cNvPr id="82" name="object 40">
              <a:extLst>
                <a:ext uri="{FF2B5EF4-FFF2-40B4-BE49-F238E27FC236}">
                  <a16:creationId xmlns:a16="http://schemas.microsoft.com/office/drawing/2014/main" id="{000E4599-A5B0-4B57-999F-F3D73C69EC66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object 43">
              <a:extLst>
                <a:ext uri="{FF2B5EF4-FFF2-40B4-BE49-F238E27FC236}">
                  <a16:creationId xmlns:a16="http://schemas.microsoft.com/office/drawing/2014/main" id="{214F255A-BBF8-4BF5-85C5-BE27FA4EDFC1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05F06A8-4BFA-42EF-BC2F-97A67BB68B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374" y="2067595"/>
              <a:ext cx="125494" cy="125495"/>
              <a:chOff x="5060951" y="5997575"/>
              <a:chExt cx="247650" cy="247651"/>
            </a:xfrm>
          </p:grpSpPr>
          <p:sp>
            <p:nvSpPr>
              <p:cNvPr id="85" name="Freeform 328">
                <a:extLst>
                  <a:ext uri="{FF2B5EF4-FFF2-40B4-BE49-F238E27FC236}">
                    <a16:creationId xmlns:a16="http://schemas.microsoft.com/office/drawing/2014/main" id="{D8A459A7-71EA-4543-A983-1B1E23916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6" name="Freeform 329">
                <a:extLst>
                  <a:ext uri="{FF2B5EF4-FFF2-40B4-BE49-F238E27FC236}">
                    <a16:creationId xmlns:a16="http://schemas.microsoft.com/office/drawing/2014/main" id="{E2D77E4D-8D0D-4143-9D95-AC473A58A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7" name="Freeform 330">
                <a:extLst>
                  <a:ext uri="{FF2B5EF4-FFF2-40B4-BE49-F238E27FC236}">
                    <a16:creationId xmlns:a16="http://schemas.microsoft.com/office/drawing/2014/main" id="{8822C16A-92DA-4DBA-BB4D-F35799CC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object 65">
            <a:extLst>
              <a:ext uri="{FF2B5EF4-FFF2-40B4-BE49-F238E27FC236}">
                <a16:creationId xmlns:a16="http://schemas.microsoft.com/office/drawing/2014/main" id="{5330D4AD-DCBC-474A-9AF8-2DF87ACB9A34}"/>
              </a:ext>
            </a:extLst>
          </p:cNvPr>
          <p:cNvSpPr/>
          <p:nvPr/>
        </p:nvSpPr>
        <p:spPr>
          <a:xfrm rot="3531892" flipV="1">
            <a:off x="4459691" y="3352793"/>
            <a:ext cx="869192" cy="9667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object 21">
            <a:extLst>
              <a:ext uri="{FF2B5EF4-FFF2-40B4-BE49-F238E27FC236}">
                <a16:creationId xmlns:a16="http://schemas.microsoft.com/office/drawing/2014/main" id="{0CCD1469-E680-414E-B7C4-30341926281B}"/>
              </a:ext>
            </a:extLst>
          </p:cNvPr>
          <p:cNvSpPr txBox="1"/>
          <p:nvPr/>
        </p:nvSpPr>
        <p:spPr>
          <a:xfrm>
            <a:off x="5075847" y="4469120"/>
            <a:ext cx="1220312" cy="118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andl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0" name="object 56">
            <a:extLst>
              <a:ext uri="{FF2B5EF4-FFF2-40B4-BE49-F238E27FC236}">
                <a16:creationId xmlns:a16="http://schemas.microsoft.com/office/drawing/2014/main" id="{A8BF1728-D979-4022-9953-3DCECA5890E2}"/>
              </a:ext>
            </a:extLst>
          </p:cNvPr>
          <p:cNvSpPr txBox="1"/>
          <p:nvPr/>
        </p:nvSpPr>
        <p:spPr>
          <a:xfrm>
            <a:off x="5902459" y="3097870"/>
            <a:ext cx="1521354" cy="129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/tjeneste lever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1" name="object 75">
            <a:extLst>
              <a:ext uri="{FF2B5EF4-FFF2-40B4-BE49-F238E27FC236}">
                <a16:creationId xmlns:a16="http://schemas.microsoft.com/office/drawing/2014/main" id="{7FA1C302-102A-47F5-A390-1C7BCA78D7A6}"/>
              </a:ext>
            </a:extLst>
          </p:cNvPr>
          <p:cNvSpPr/>
          <p:nvPr/>
        </p:nvSpPr>
        <p:spPr>
          <a:xfrm>
            <a:off x="6127176" y="2344028"/>
            <a:ext cx="524065" cy="32811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7571D0-E209-4FB6-9821-F5965D88C7C9}"/>
              </a:ext>
            </a:extLst>
          </p:cNvPr>
          <p:cNvGrpSpPr/>
          <p:nvPr/>
        </p:nvGrpSpPr>
        <p:grpSpPr>
          <a:xfrm>
            <a:off x="289779" y="1863840"/>
            <a:ext cx="1020570" cy="1115593"/>
            <a:chOff x="3467100" y="1822705"/>
            <a:chExt cx="1417446" cy="1481454"/>
          </a:xfrm>
        </p:grpSpPr>
        <p:sp>
          <p:nvSpPr>
            <p:cNvPr id="77" name="object 17">
              <a:extLst>
                <a:ext uri="{FF2B5EF4-FFF2-40B4-BE49-F238E27FC236}">
                  <a16:creationId xmlns:a16="http://schemas.microsoft.com/office/drawing/2014/main" id="{B1DC2C77-3C68-4583-8E00-120A29684A5A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object 18">
              <a:extLst>
                <a:ext uri="{FF2B5EF4-FFF2-40B4-BE49-F238E27FC236}">
                  <a16:creationId xmlns:a16="http://schemas.microsoft.com/office/drawing/2014/main" id="{60F58578-3E3B-45FB-817B-B5930C4253E7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object 19">
              <a:extLst>
                <a:ext uri="{FF2B5EF4-FFF2-40B4-BE49-F238E27FC236}">
                  <a16:creationId xmlns:a16="http://schemas.microsoft.com/office/drawing/2014/main" id="{63B88205-4384-47CF-BA32-AA3BDCD7E5E4}"/>
                </a:ext>
              </a:extLst>
            </p:cNvPr>
            <p:cNvSpPr/>
            <p:nvPr/>
          </p:nvSpPr>
          <p:spPr>
            <a:xfrm>
              <a:off x="4111750" y="1822705"/>
              <a:ext cx="772796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object 40">
              <a:extLst>
                <a:ext uri="{FF2B5EF4-FFF2-40B4-BE49-F238E27FC236}">
                  <a16:creationId xmlns:a16="http://schemas.microsoft.com/office/drawing/2014/main" id="{E73A811D-D9FF-4D8F-AA5C-2CCFB426D687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object 41">
              <a:extLst>
                <a:ext uri="{FF2B5EF4-FFF2-40B4-BE49-F238E27FC236}">
                  <a16:creationId xmlns:a16="http://schemas.microsoft.com/office/drawing/2014/main" id="{5EF69DED-DA14-465B-AEAE-45030D81CA20}"/>
                </a:ext>
              </a:extLst>
            </p:cNvPr>
            <p:cNvSpPr/>
            <p:nvPr/>
          </p:nvSpPr>
          <p:spPr>
            <a:xfrm>
              <a:off x="3547109" y="2032255"/>
              <a:ext cx="1130936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BA73519-AF16-46D2-B536-47B6CB5C43F2}"/>
              </a:ext>
            </a:extLst>
          </p:cNvPr>
          <p:cNvSpPr txBox="1"/>
          <p:nvPr/>
        </p:nvSpPr>
        <p:spPr>
          <a:xfrm>
            <a:off x="400318" y="2119769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800" b="1">
                <a:solidFill>
                  <a:srgbClr val="5C5C5C"/>
                </a:solidFill>
                <a:latin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object 65">
            <a:extLst>
              <a:ext uri="{FF2B5EF4-FFF2-40B4-BE49-F238E27FC236}">
                <a16:creationId xmlns:a16="http://schemas.microsoft.com/office/drawing/2014/main" id="{B5BEEF05-5809-4D4A-9EEC-B26799C508D7}"/>
              </a:ext>
            </a:extLst>
          </p:cNvPr>
          <p:cNvSpPr/>
          <p:nvPr/>
        </p:nvSpPr>
        <p:spPr>
          <a:xfrm rot="2636572" flipV="1">
            <a:off x="1090904" y="3029964"/>
            <a:ext cx="767139" cy="20304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668B59D2-01C8-478E-9DBC-4745A455120B}"/>
              </a:ext>
            </a:extLst>
          </p:cNvPr>
          <p:cNvSpPr txBox="1"/>
          <p:nvPr/>
        </p:nvSpPr>
        <p:spPr>
          <a:xfrm>
            <a:off x="224951" y="3147714"/>
            <a:ext cx="1052868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nb-NO"/>
            </a:defPPr>
            <a:lvl1pPr marL="12700" marR="5080" indent="635" algn="ctr">
              <a:defRPr sz="900" spc="-10">
                <a:solidFill>
                  <a:srgbClr val="000000"/>
                </a:solidFill>
                <a:latin typeface="Open Sans"/>
                <a:cs typeface="Verdana"/>
              </a:defRPr>
            </a:lvl1pPr>
          </a:lstStyle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Melder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 via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sinnmelidngs-skjema</a:t>
            </a:r>
            <a:endParaRPr kumimoji="0" sz="900" b="0" i="0" u="none" strike="noStrike" kern="1200" cap="none" spc="-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4DBB2AC9-6D28-4388-A9A5-EE08E7F0C3A1}"/>
              </a:ext>
            </a:extLst>
          </p:cNvPr>
          <p:cNvSpPr/>
          <p:nvPr/>
        </p:nvSpPr>
        <p:spPr>
          <a:xfrm rot="18869929">
            <a:off x="2175501" y="2448836"/>
            <a:ext cx="730989" cy="11010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171E72E-AE84-4153-BE9B-2602EDA2E595}"/>
              </a:ext>
            </a:extLst>
          </p:cNvPr>
          <p:cNvGrpSpPr/>
          <p:nvPr/>
        </p:nvGrpSpPr>
        <p:grpSpPr>
          <a:xfrm>
            <a:off x="1949868" y="2931519"/>
            <a:ext cx="1391579" cy="1248063"/>
            <a:chOff x="2682578" y="3293298"/>
            <a:chExt cx="1360606" cy="1224343"/>
          </a:xfrm>
        </p:grpSpPr>
        <p:sp>
          <p:nvSpPr>
            <p:cNvPr id="69" name="object 17">
              <a:extLst>
                <a:ext uri="{FF2B5EF4-FFF2-40B4-BE49-F238E27FC236}">
                  <a16:creationId xmlns:a16="http://schemas.microsoft.com/office/drawing/2014/main" id="{99497F66-8F31-42B3-8E73-8947A452376A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object 18">
              <a:extLst>
                <a:ext uri="{FF2B5EF4-FFF2-40B4-BE49-F238E27FC236}">
                  <a16:creationId xmlns:a16="http://schemas.microsoft.com/office/drawing/2014/main" id="{E615B8EE-83EA-413D-9F76-7321012B6A49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object 19">
              <a:extLst>
                <a:ext uri="{FF2B5EF4-FFF2-40B4-BE49-F238E27FC236}">
                  <a16:creationId xmlns:a16="http://schemas.microsoft.com/office/drawing/2014/main" id="{FF8D2608-8DB5-41A9-AF01-45B2A07D0E21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2" name="object 40">
              <a:extLst>
                <a:ext uri="{FF2B5EF4-FFF2-40B4-BE49-F238E27FC236}">
                  <a16:creationId xmlns:a16="http://schemas.microsoft.com/office/drawing/2014/main" id="{B1826CC3-E8D5-4E38-BB66-356ED741FA26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object 41">
              <a:extLst>
                <a:ext uri="{FF2B5EF4-FFF2-40B4-BE49-F238E27FC236}">
                  <a16:creationId xmlns:a16="http://schemas.microsoft.com/office/drawing/2014/main" id="{B4075393-C164-4127-A724-6ADAB2E609A5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7272E1A-9BCC-42DF-A1A0-AE06C7BF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336" y="3805834"/>
              <a:ext cx="267640" cy="364455"/>
            </a:xfrm>
            <a:prstGeom prst="rect">
              <a:avLst/>
            </a:prstGeom>
            <a:ln w="15240">
              <a:noFill/>
            </a:ln>
          </p:spPr>
        </p:pic>
        <p:sp>
          <p:nvSpPr>
            <p:cNvPr id="75" name="object 69">
              <a:extLst>
                <a:ext uri="{FF2B5EF4-FFF2-40B4-BE49-F238E27FC236}">
                  <a16:creationId xmlns:a16="http://schemas.microsoft.com/office/drawing/2014/main" id="{56205A8D-2B1C-4721-BF99-85C7A8729A0F}"/>
                </a:ext>
              </a:extLst>
            </p:cNvPr>
            <p:cNvSpPr/>
            <p:nvPr/>
          </p:nvSpPr>
          <p:spPr>
            <a:xfrm flipH="1">
              <a:off x="2801769" y="379255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6A842D4-376B-48F6-85F5-ED5151A89761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object 8">
            <a:extLst>
              <a:ext uri="{FF2B5EF4-FFF2-40B4-BE49-F238E27FC236}">
                <a16:creationId xmlns:a16="http://schemas.microsoft.com/office/drawing/2014/main" id="{1D02E8AB-996E-47F7-AAFD-15799EC911AB}"/>
              </a:ext>
            </a:extLst>
          </p:cNvPr>
          <p:cNvSpPr/>
          <p:nvPr/>
        </p:nvSpPr>
        <p:spPr>
          <a:xfrm>
            <a:off x="418557" y="2236614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object 52">
            <a:extLst>
              <a:ext uri="{FF2B5EF4-FFF2-40B4-BE49-F238E27FC236}">
                <a16:creationId xmlns:a16="http://schemas.microsoft.com/office/drawing/2014/main" id="{4037DC2D-0845-48E7-AB4D-25602FBF0A97}"/>
              </a:ext>
            </a:extLst>
          </p:cNvPr>
          <p:cNvSpPr txBox="1"/>
          <p:nvPr/>
        </p:nvSpPr>
        <p:spPr>
          <a:xfrm>
            <a:off x="1406583" y="1772854"/>
            <a:ext cx="1394428" cy="4276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til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ergrupp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(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definert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av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koststed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604043-73C5-45EE-ADDB-8DED7DD8813A}"/>
              </a:ext>
            </a:extLst>
          </p:cNvPr>
          <p:cNvGrpSpPr/>
          <p:nvPr/>
        </p:nvGrpSpPr>
        <p:grpSpPr>
          <a:xfrm>
            <a:off x="2862225" y="1255104"/>
            <a:ext cx="1350024" cy="1429828"/>
            <a:chOff x="4471223" y="2681586"/>
            <a:chExt cx="1500876" cy="1569373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F9FA64F-5117-4943-AF6A-558E5945E856}"/>
                </a:ext>
              </a:extLst>
            </p:cNvPr>
            <p:cNvGrpSpPr/>
            <p:nvPr/>
          </p:nvGrpSpPr>
          <p:grpSpPr>
            <a:xfrm>
              <a:off x="4471223" y="2681586"/>
              <a:ext cx="1429599" cy="1569373"/>
              <a:chOff x="2320780" y="1682998"/>
              <a:chExt cx="1429599" cy="1569373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7B9BCDD-65E6-4075-811D-B516460059F0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64" name="object 17">
                  <a:extLst>
                    <a:ext uri="{FF2B5EF4-FFF2-40B4-BE49-F238E27FC236}">
                      <a16:creationId xmlns:a16="http://schemas.microsoft.com/office/drawing/2014/main" id="{2E36AB02-E7BB-4AFF-B5FA-42229FF9ED11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bject 18">
                  <a:extLst>
                    <a:ext uri="{FF2B5EF4-FFF2-40B4-BE49-F238E27FC236}">
                      <a16:creationId xmlns:a16="http://schemas.microsoft.com/office/drawing/2014/main" id="{72347FB7-5C39-4B33-9A90-2E094F90D361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bject 19">
                  <a:extLst>
                    <a:ext uri="{FF2B5EF4-FFF2-40B4-BE49-F238E27FC236}">
                      <a16:creationId xmlns:a16="http://schemas.microsoft.com/office/drawing/2014/main" id="{7F4E4D78-4975-4E74-91AB-EA1696C348D4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bject 40">
                  <a:extLst>
                    <a:ext uri="{FF2B5EF4-FFF2-40B4-BE49-F238E27FC236}">
                      <a16:creationId xmlns:a16="http://schemas.microsoft.com/office/drawing/2014/main" id="{3A623F1C-07A7-42E6-979B-7C08AA283CF1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object 41">
                  <a:extLst>
                    <a:ext uri="{FF2B5EF4-FFF2-40B4-BE49-F238E27FC236}">
                      <a16:creationId xmlns:a16="http://schemas.microsoft.com/office/drawing/2014/main" id="{52170709-DE41-4FFE-B01D-5363641D2A28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object 21">
                <a:extLst>
                  <a:ext uri="{FF2B5EF4-FFF2-40B4-BE49-F238E27FC236}">
                    <a16:creationId xmlns:a16="http://schemas.microsoft.com/office/drawing/2014/main" id="{AA94667E-179D-4C24-BB70-2FA073913363}"/>
                  </a:ext>
                </a:extLst>
              </p:cNvPr>
              <p:cNvSpPr txBox="1"/>
              <p:nvPr/>
            </p:nvSpPr>
            <p:spPr>
              <a:xfrm>
                <a:off x="2350494" y="2975372"/>
                <a:ext cx="1399885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lvl="0" indent="63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Verdana"/>
                  </a:rPr>
                  <a:t>Oppretter / kontrollerer og fullfører innkjøpsforespørsel</a:t>
                </a:r>
              </a:p>
            </p:txBody>
          </p:sp>
          <p:sp>
            <p:nvSpPr>
              <p:cNvPr id="63" name="object 66">
                <a:extLst>
                  <a:ext uri="{FF2B5EF4-FFF2-40B4-BE49-F238E27FC236}">
                    <a16:creationId xmlns:a16="http://schemas.microsoft.com/office/drawing/2014/main" id="{06F51D83-4CE5-4EE5-85A1-92CBD96EC82E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83C816-13FC-40E8-B793-1B3B299139AE}"/>
                </a:ext>
              </a:extLst>
            </p:cNvPr>
            <p:cNvSpPr txBox="1"/>
            <p:nvPr/>
          </p:nvSpPr>
          <p:spPr>
            <a:xfrm>
              <a:off x="4689951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nkjøper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object 8">
            <a:extLst>
              <a:ext uri="{FF2B5EF4-FFF2-40B4-BE49-F238E27FC236}">
                <a16:creationId xmlns:a16="http://schemas.microsoft.com/office/drawing/2014/main" id="{1AF27EB5-F9C2-4A61-91A0-C8D6D7E8C465}"/>
              </a:ext>
            </a:extLst>
          </p:cNvPr>
          <p:cNvSpPr/>
          <p:nvPr/>
        </p:nvSpPr>
        <p:spPr>
          <a:xfrm>
            <a:off x="4484780" y="2320266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1C3646-9CAC-46D2-8CCF-9ED0351A70D8}"/>
              </a:ext>
            </a:extLst>
          </p:cNvPr>
          <p:cNvSpPr txBox="1"/>
          <p:nvPr/>
        </p:nvSpPr>
        <p:spPr>
          <a:xfrm>
            <a:off x="4318516" y="2044203"/>
            <a:ext cx="994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ostnads-godkjenn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" name="object 52">
            <a:extLst>
              <a:ext uri="{FF2B5EF4-FFF2-40B4-BE49-F238E27FC236}">
                <a16:creationId xmlns:a16="http://schemas.microsoft.com/office/drawing/2014/main" id="{56F7333C-238E-4671-802A-5640AF848B00}"/>
              </a:ext>
            </a:extLst>
          </p:cNvPr>
          <p:cNvSpPr txBox="1"/>
          <p:nvPr/>
        </p:nvSpPr>
        <p:spPr>
          <a:xfrm>
            <a:off x="4608896" y="1474647"/>
            <a:ext cx="1305617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Godkjenner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EBDB1A-F233-41F2-B11D-4B2D0768B197}"/>
              </a:ext>
            </a:extLst>
          </p:cNvPr>
          <p:cNvGrpSpPr/>
          <p:nvPr/>
        </p:nvGrpSpPr>
        <p:grpSpPr>
          <a:xfrm>
            <a:off x="5192343" y="3218838"/>
            <a:ext cx="1038530" cy="1130932"/>
            <a:chOff x="3467100" y="1822704"/>
            <a:chExt cx="1417447" cy="1481455"/>
          </a:xfrm>
        </p:grpSpPr>
        <p:sp>
          <p:nvSpPr>
            <p:cNvPr id="54" name="object 17">
              <a:extLst>
                <a:ext uri="{FF2B5EF4-FFF2-40B4-BE49-F238E27FC236}">
                  <a16:creationId xmlns:a16="http://schemas.microsoft.com/office/drawing/2014/main" id="{73DA793B-CF37-41CC-A4C0-B083CAD94E1B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5" name="object 18">
              <a:extLst>
                <a:ext uri="{FF2B5EF4-FFF2-40B4-BE49-F238E27FC236}">
                  <a16:creationId xmlns:a16="http://schemas.microsoft.com/office/drawing/2014/main" id="{972E0CE8-6DAF-46CA-941C-385E55B9C99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object 19">
              <a:extLst>
                <a:ext uri="{FF2B5EF4-FFF2-40B4-BE49-F238E27FC236}">
                  <a16:creationId xmlns:a16="http://schemas.microsoft.com/office/drawing/2014/main" id="{74FC72E0-763F-475B-885C-2CC6968DC99B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object 40">
              <a:extLst>
                <a:ext uri="{FF2B5EF4-FFF2-40B4-BE49-F238E27FC236}">
                  <a16:creationId xmlns:a16="http://schemas.microsoft.com/office/drawing/2014/main" id="{59F3CD5D-48A2-416D-9DE0-95DCB69415F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object 41">
              <a:extLst>
                <a:ext uri="{FF2B5EF4-FFF2-40B4-BE49-F238E27FC236}">
                  <a16:creationId xmlns:a16="http://schemas.microsoft.com/office/drawing/2014/main" id="{142C507C-25CB-4109-807F-DF71A3DB67A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5" name="object 69">
            <a:extLst>
              <a:ext uri="{FF2B5EF4-FFF2-40B4-BE49-F238E27FC236}">
                <a16:creationId xmlns:a16="http://schemas.microsoft.com/office/drawing/2014/main" id="{BD592B38-5313-4DC1-9F71-923A378A81C2}"/>
              </a:ext>
            </a:extLst>
          </p:cNvPr>
          <p:cNvSpPr/>
          <p:nvPr/>
        </p:nvSpPr>
        <p:spPr>
          <a:xfrm flipH="1">
            <a:off x="5313766" y="3656028"/>
            <a:ext cx="451180" cy="35643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bject 74">
            <a:extLst>
              <a:ext uri="{FF2B5EF4-FFF2-40B4-BE49-F238E27FC236}">
                <a16:creationId xmlns:a16="http://schemas.microsoft.com/office/drawing/2014/main" id="{D25D4D2A-1104-4A77-B9CF-24FC5A081999}"/>
              </a:ext>
            </a:extLst>
          </p:cNvPr>
          <p:cNvSpPr/>
          <p:nvPr/>
        </p:nvSpPr>
        <p:spPr>
          <a:xfrm>
            <a:off x="5746999" y="37078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object 74">
            <a:extLst>
              <a:ext uri="{FF2B5EF4-FFF2-40B4-BE49-F238E27FC236}">
                <a16:creationId xmlns:a16="http://schemas.microsoft.com/office/drawing/2014/main" id="{F2793948-3991-4FE8-97B6-94A7AA4CF033}"/>
              </a:ext>
            </a:extLst>
          </p:cNvPr>
          <p:cNvSpPr/>
          <p:nvPr/>
        </p:nvSpPr>
        <p:spPr>
          <a:xfrm>
            <a:off x="5885009" y="37494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object 74">
            <a:extLst>
              <a:ext uri="{FF2B5EF4-FFF2-40B4-BE49-F238E27FC236}">
                <a16:creationId xmlns:a16="http://schemas.microsoft.com/office/drawing/2014/main" id="{1BA81406-C0A7-4C19-8A2F-6C5C708D7D52}"/>
              </a:ext>
            </a:extLst>
          </p:cNvPr>
          <p:cNvSpPr/>
          <p:nvPr/>
        </p:nvSpPr>
        <p:spPr>
          <a:xfrm>
            <a:off x="5755336" y="382511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A1352C-4C7C-43E3-A981-8244758C8778}"/>
              </a:ext>
            </a:extLst>
          </p:cNvPr>
          <p:cNvSpPr txBox="1"/>
          <p:nvPr/>
        </p:nvSpPr>
        <p:spPr>
          <a:xfrm>
            <a:off x="5299888" y="3417352"/>
            <a:ext cx="878045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verandø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4458E5C-C0A2-4B42-92C1-A3BA1CEACA4A}"/>
              </a:ext>
            </a:extLst>
          </p:cNvPr>
          <p:cNvGrpSpPr/>
          <p:nvPr/>
        </p:nvGrpSpPr>
        <p:grpSpPr>
          <a:xfrm>
            <a:off x="7250315" y="1521875"/>
            <a:ext cx="1135897" cy="1187442"/>
            <a:chOff x="3467100" y="1822704"/>
            <a:chExt cx="1417447" cy="1481455"/>
          </a:xfrm>
        </p:grpSpPr>
        <p:sp>
          <p:nvSpPr>
            <p:cNvPr id="49" name="object 17">
              <a:extLst>
                <a:ext uri="{FF2B5EF4-FFF2-40B4-BE49-F238E27FC236}">
                  <a16:creationId xmlns:a16="http://schemas.microsoft.com/office/drawing/2014/main" id="{65B23D8B-79FA-4A6C-8F64-3687403E796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0" name="object 18">
              <a:extLst>
                <a:ext uri="{FF2B5EF4-FFF2-40B4-BE49-F238E27FC236}">
                  <a16:creationId xmlns:a16="http://schemas.microsoft.com/office/drawing/2014/main" id="{23B572A4-7DCB-4EDC-8F47-5E10B70D2F11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1" name="object 19">
              <a:extLst>
                <a:ext uri="{FF2B5EF4-FFF2-40B4-BE49-F238E27FC236}">
                  <a16:creationId xmlns:a16="http://schemas.microsoft.com/office/drawing/2014/main" id="{1C32FC2F-0FD7-4B18-BBA7-AE526708D939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object 40">
              <a:extLst>
                <a:ext uri="{FF2B5EF4-FFF2-40B4-BE49-F238E27FC236}">
                  <a16:creationId xmlns:a16="http://schemas.microsoft.com/office/drawing/2014/main" id="{7EF63173-29AE-4530-ABC4-DAAE69C69A00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object 41">
              <a:extLst>
                <a:ext uri="{FF2B5EF4-FFF2-40B4-BE49-F238E27FC236}">
                  <a16:creationId xmlns:a16="http://schemas.microsoft.com/office/drawing/2014/main" id="{9A541F79-BC91-4AFA-ADC1-85D472B392D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6936B04-848D-44A7-A90D-61DE09649593}"/>
              </a:ext>
            </a:extLst>
          </p:cNvPr>
          <p:cNvSpPr txBox="1"/>
          <p:nvPr/>
        </p:nvSpPr>
        <p:spPr>
          <a:xfrm>
            <a:off x="7367111" y="1761650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object 8">
            <a:extLst>
              <a:ext uri="{FF2B5EF4-FFF2-40B4-BE49-F238E27FC236}">
                <a16:creationId xmlns:a16="http://schemas.microsoft.com/office/drawing/2014/main" id="{0899BD54-F8CB-43A0-86E6-42622584F09E}"/>
              </a:ext>
            </a:extLst>
          </p:cNvPr>
          <p:cNvSpPr/>
          <p:nvPr/>
        </p:nvSpPr>
        <p:spPr>
          <a:xfrm flipH="1">
            <a:off x="7809726" y="1970090"/>
            <a:ext cx="18147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3" name="Freeform 756">
            <a:extLst>
              <a:ext uri="{FF2B5EF4-FFF2-40B4-BE49-F238E27FC236}">
                <a16:creationId xmlns:a16="http://schemas.microsoft.com/office/drawing/2014/main" id="{B8B9A667-C6ED-4A8A-A75D-9F9684BD7D88}"/>
              </a:ext>
            </a:extLst>
          </p:cNvPr>
          <p:cNvSpPr>
            <a:spLocks noEditPoints="1"/>
          </p:cNvSpPr>
          <p:nvPr/>
        </p:nvSpPr>
        <p:spPr bwMode="auto">
          <a:xfrm>
            <a:off x="7486987" y="2144849"/>
            <a:ext cx="221878" cy="245023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p14="http://schemas.microsoft.com/office/powerpoint/2010/main" xmlns:mc="http://schemas.openxmlformats.org/markup-compatibility/2006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bject 56">
            <a:extLst>
              <a:ext uri="{FF2B5EF4-FFF2-40B4-BE49-F238E27FC236}">
                <a16:creationId xmlns:a16="http://schemas.microsoft.com/office/drawing/2014/main" id="{4CB23EA2-8F84-4E0A-8A7C-158DD3EFC357}"/>
              </a:ext>
            </a:extLst>
          </p:cNvPr>
          <p:cNvSpPr txBox="1"/>
          <p:nvPr/>
        </p:nvSpPr>
        <p:spPr>
          <a:xfrm>
            <a:off x="6115269" y="1142328"/>
            <a:ext cx="1470290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 vare/tjeneste og melder t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Fagrekvirent for registrering av varemottak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D501F192-7993-4FC2-8B08-58066ECBFC91}"/>
              </a:ext>
            </a:extLst>
          </p:cNvPr>
          <p:cNvSpPr/>
          <p:nvPr/>
        </p:nvSpPr>
        <p:spPr>
          <a:xfrm rot="20354384" flipV="1">
            <a:off x="6882440" y="2709912"/>
            <a:ext cx="592792" cy="18652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object 40">
            <a:extLst>
              <a:ext uri="{FF2B5EF4-FFF2-40B4-BE49-F238E27FC236}">
                <a16:creationId xmlns:a16="http://schemas.microsoft.com/office/drawing/2014/main" id="{590ACCD0-44AA-448B-9CAA-5A5F105F43A0}"/>
              </a:ext>
            </a:extLst>
          </p:cNvPr>
          <p:cNvSpPr/>
          <p:nvPr/>
        </p:nvSpPr>
        <p:spPr>
          <a:xfrm>
            <a:off x="576287" y="2295005"/>
            <a:ext cx="460533" cy="425524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7" name="Freeform 134">
            <a:extLst>
              <a:ext uri="{FF2B5EF4-FFF2-40B4-BE49-F238E27FC236}">
                <a16:creationId xmlns:a16="http://schemas.microsoft.com/office/drawing/2014/main" id="{9429B3B8-6AC8-415B-B42D-7045E0216D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7443" y="2371377"/>
            <a:ext cx="157003" cy="173892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ject 65">
            <a:extLst>
              <a:ext uri="{FF2B5EF4-FFF2-40B4-BE49-F238E27FC236}">
                <a16:creationId xmlns:a16="http://schemas.microsoft.com/office/drawing/2014/main" id="{8C16D7B1-BDFB-4DD5-941C-97DE3DDBE1EA}"/>
              </a:ext>
            </a:extLst>
          </p:cNvPr>
          <p:cNvSpPr/>
          <p:nvPr/>
        </p:nvSpPr>
        <p:spPr>
          <a:xfrm rot="20929925">
            <a:off x="1056786" y="1643113"/>
            <a:ext cx="1615196" cy="240573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F1AF45-88CD-443E-9DEA-CF87C97B64C7}"/>
              </a:ext>
            </a:extLst>
          </p:cNvPr>
          <p:cNvSpPr txBox="1"/>
          <p:nvPr/>
        </p:nvSpPr>
        <p:spPr>
          <a:xfrm>
            <a:off x="1073477" y="1343179"/>
            <a:ext cx="1150366" cy="197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ke-faglig innkjøpsbehov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8DA560-7E34-44DB-84E7-F276C28ED0E5}"/>
              </a:ext>
            </a:extLst>
          </p:cNvPr>
          <p:cNvSpPr txBox="1"/>
          <p:nvPr/>
        </p:nvSpPr>
        <p:spPr>
          <a:xfrm>
            <a:off x="1364790" y="2765109"/>
            <a:ext cx="1058086" cy="361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aglig</a:t>
            </a: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nkjøpsbehov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A0FD5BE-61C5-4307-9BA2-A698941C1960}"/>
              </a:ext>
            </a:extLst>
          </p:cNvPr>
          <p:cNvGrpSpPr/>
          <p:nvPr/>
        </p:nvGrpSpPr>
        <p:grpSpPr>
          <a:xfrm>
            <a:off x="7721475" y="3174086"/>
            <a:ext cx="1391579" cy="1248063"/>
            <a:chOff x="2682578" y="3293298"/>
            <a:chExt cx="1360606" cy="1224343"/>
          </a:xfrm>
        </p:grpSpPr>
        <p:sp>
          <p:nvSpPr>
            <p:cNvPr id="105" name="object 17">
              <a:extLst>
                <a:ext uri="{FF2B5EF4-FFF2-40B4-BE49-F238E27FC236}">
                  <a16:creationId xmlns:a16="http://schemas.microsoft.com/office/drawing/2014/main" id="{FD70F499-3A8C-4D7D-AF22-1281072B5A74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6" name="object 18">
              <a:extLst>
                <a:ext uri="{FF2B5EF4-FFF2-40B4-BE49-F238E27FC236}">
                  <a16:creationId xmlns:a16="http://schemas.microsoft.com/office/drawing/2014/main" id="{85444CEF-0D92-45E1-935E-39D69785A112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7" name="object 19">
              <a:extLst>
                <a:ext uri="{FF2B5EF4-FFF2-40B4-BE49-F238E27FC236}">
                  <a16:creationId xmlns:a16="http://schemas.microsoft.com/office/drawing/2014/main" id="{FB76CA50-8E8E-4FED-AF4C-B57069ADE8E4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8" name="object 40">
              <a:extLst>
                <a:ext uri="{FF2B5EF4-FFF2-40B4-BE49-F238E27FC236}">
                  <a16:creationId xmlns:a16="http://schemas.microsoft.com/office/drawing/2014/main" id="{83599FFD-DE49-40C6-A03E-3FEC6821B67D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9" name="object 41">
              <a:extLst>
                <a:ext uri="{FF2B5EF4-FFF2-40B4-BE49-F238E27FC236}">
                  <a16:creationId xmlns:a16="http://schemas.microsoft.com/office/drawing/2014/main" id="{0AC30CF0-F690-4468-967B-8403F51249B3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1" name="object 69">
              <a:extLst>
                <a:ext uri="{FF2B5EF4-FFF2-40B4-BE49-F238E27FC236}">
                  <a16:creationId xmlns:a16="http://schemas.microsoft.com/office/drawing/2014/main" id="{31F08C77-7E71-4E35-AFA5-DF73BE1CACB5}"/>
                </a:ext>
              </a:extLst>
            </p:cNvPr>
            <p:cNvSpPr/>
            <p:nvPr/>
          </p:nvSpPr>
          <p:spPr>
            <a:xfrm flipH="1">
              <a:off x="2907162" y="383492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F24AFC2-E444-469A-9E9D-2565EC418CD0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13" name="object 21">
            <a:extLst>
              <a:ext uri="{FF2B5EF4-FFF2-40B4-BE49-F238E27FC236}">
                <a16:creationId xmlns:a16="http://schemas.microsoft.com/office/drawing/2014/main" id="{C4A58E6D-9266-499D-8300-91C7DDE8E705}"/>
              </a:ext>
            </a:extLst>
          </p:cNvPr>
          <p:cNvSpPr txBox="1"/>
          <p:nvPr/>
        </p:nvSpPr>
        <p:spPr>
          <a:xfrm>
            <a:off x="7506985" y="4473177"/>
            <a:ext cx="12203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Registrer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mottak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Unit4 ERP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114" name="object 65">
            <a:extLst>
              <a:ext uri="{FF2B5EF4-FFF2-40B4-BE49-F238E27FC236}">
                <a16:creationId xmlns:a16="http://schemas.microsoft.com/office/drawing/2014/main" id="{957324FB-339C-4249-8644-3655E83BB5C5}"/>
              </a:ext>
            </a:extLst>
          </p:cNvPr>
          <p:cNvSpPr/>
          <p:nvPr/>
        </p:nvSpPr>
        <p:spPr>
          <a:xfrm rot="6143377">
            <a:off x="7785112" y="2869250"/>
            <a:ext cx="871007" cy="7961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748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50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Prosessoversik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AD9B4E-FC20-414F-94E1-549018DE93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6573" y="817542"/>
            <a:ext cx="7685363" cy="4047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007CF7D-3AB6-4921-B68A-C22DBBBE0A7E}"/>
              </a:ext>
            </a:extLst>
          </p:cNvPr>
          <p:cNvSpPr txBox="1"/>
          <p:nvPr/>
        </p:nvSpPr>
        <p:spPr>
          <a:xfrm>
            <a:off x="7278804" y="4587560"/>
            <a:ext cx="13416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hlinkClick r:id="rId7"/>
              </a:rPr>
              <a:t>Link til prosessoversikt</a:t>
            </a:r>
            <a:endParaRPr lang="nb-NO" sz="800"/>
          </a:p>
          <a:p>
            <a:r>
              <a:rPr lang="nb-NO" sz="800">
                <a:hlinkClick r:id="rId8"/>
              </a:rPr>
              <a:t>Link til prosesskart</a:t>
            </a:r>
            <a:endParaRPr lang="nb-NO" sz="800"/>
          </a:p>
        </p:txBody>
      </p:sp>
    </p:spTree>
    <p:extLst>
      <p:ext uri="{BB962C8B-B14F-4D97-AF65-F5344CB8AC3E}">
        <p14:creationId xmlns:p14="http://schemas.microsoft.com/office/powerpoint/2010/main" val="2634941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083F270-11ED-4F08-A7D9-D3F9906BA1B0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92f31348-0739-4467-8087-a9e650b26e61"/>
    <ds:schemaRef ds:uri="http://schemas.openxmlformats.org/package/2006/metadata/core-properties"/>
    <ds:schemaRef ds:uri="http://purl.org/dc/terms/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2076</Words>
  <Application>Microsoft Office PowerPoint</Application>
  <PresentationFormat>On-screen Show (16:9)</PresentationFormat>
  <Paragraphs>415</Paragraphs>
  <Slides>32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Arial</vt:lpstr>
      <vt:lpstr>Calibri</vt:lpstr>
      <vt:lpstr>Open Sans</vt:lpstr>
      <vt:lpstr>Office-tema</vt:lpstr>
      <vt:lpstr>1_Office-tema</vt:lpstr>
      <vt:lpstr>2_Office-tema</vt:lpstr>
      <vt:lpstr>8_Office-tema</vt:lpstr>
      <vt:lpstr>3_Office-tema</vt:lpstr>
      <vt:lpstr>1_Office-tema</vt:lpstr>
      <vt:lpstr>4_Office-tema</vt:lpstr>
      <vt:lpstr>think-cell Slide</vt:lpstr>
      <vt:lpstr>Behov til betaling –  Informasjonsmøte om opplæring</vt:lpstr>
      <vt:lpstr>PowerPoint Presentation</vt:lpstr>
      <vt:lpstr>Agenda</vt:lpstr>
      <vt:lpstr>Mål for møtet </vt:lpstr>
      <vt:lpstr>Hvorfor BOTT ØL Innføringen av nye økonomi- og lønnssystemer vil gi NTNU mange fordeler både i et fag- og brukerperspektiv</vt:lpstr>
      <vt:lpstr>PowerPoint Presentation</vt:lpstr>
      <vt:lpstr>Agenda</vt:lpstr>
      <vt:lpstr>Intro til btb-prosessen: Prosessflyt - Opprettelse av innkjøpeforespørsel og varemottak</vt:lpstr>
      <vt:lpstr>Intro til BtB-prosessen: Prosessoversikt</vt:lpstr>
      <vt:lpstr>Intro til BtB-prosessen: Roller</vt:lpstr>
      <vt:lpstr>PowerPoint Presentation</vt:lpstr>
      <vt:lpstr>PowerPoint Presentation</vt:lpstr>
      <vt:lpstr>Intro til BtB-prosessen: Samhandling mellom roller</vt:lpstr>
      <vt:lpstr>Hovedendringer fra dagens prosesser, roller og systemer  </vt:lpstr>
      <vt:lpstr>Agenda</vt:lpstr>
      <vt:lpstr>PowerPoint Presentation</vt:lpstr>
      <vt:lpstr>BOTT ØL - Opplæringsside</vt:lpstr>
      <vt:lpstr>PowerPoint Presentation</vt:lpstr>
      <vt:lpstr>PowerPoint Presentation</vt:lpstr>
      <vt:lpstr>PowerPoint Presentation</vt:lpstr>
      <vt:lpstr>Praktisk informasjon</vt:lpstr>
      <vt:lpstr>Egenlæring: BOTT ØL e-læring for rolle og prosess</vt:lpstr>
      <vt:lpstr>Gjennomføre BOTT e-læring</vt:lpstr>
      <vt:lpstr>PowerPoint Presentation</vt:lpstr>
      <vt:lpstr>Spørsmål om opplæring</vt:lpstr>
      <vt:lpstr>Spørsmål om opplæring?</vt:lpstr>
      <vt:lpstr>Agenda</vt:lpstr>
      <vt:lpstr>Hvor kan du finne mer informasjon</vt:lpstr>
      <vt:lpstr>Kontaktpersoner btb </vt:lpstr>
      <vt:lpstr>Agenda</vt:lpstr>
      <vt:lpstr>Spørsmål og svar</vt:lpstr>
      <vt:lpstr>PowerPoint Presentati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Gry-Lene Johansen</cp:lastModifiedBy>
  <cp:revision>1</cp:revision>
  <cp:lastPrinted>2022-09-20T06:30:30Z</cp:lastPrinted>
  <dcterms:created xsi:type="dcterms:W3CDTF">2022-03-25T07:38:29Z</dcterms:created>
  <dcterms:modified xsi:type="dcterms:W3CDTF">2022-09-20T11:2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